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xml" ContentType="application/vnd.openxmlformats-officedocument.theme+xml"/>
  <Override PartName="/ppt/tags/tag114.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15.xml" ContentType="application/vnd.openxmlformats-officedocument.presentationml.tags+xml"/>
  <Override PartName="/ppt/notesSlides/notesSlide1.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2.xml" ContentType="application/vnd.openxmlformats-officedocument.presentationml.notesSlide+xml"/>
  <Override PartName="/ppt/tags/tag118.xml" ContentType="application/vnd.openxmlformats-officedocument.presentationml.tags+xml"/>
  <Override PartName="/ppt/notesSlides/notesSlide3.xml" ContentType="application/vnd.openxmlformats-officedocument.presentationml.notesSlide+xml"/>
  <Override PartName="/ppt/tags/tag119.xml" ContentType="application/vnd.openxmlformats-officedocument.presentationml.tags+xml"/>
  <Override PartName="/ppt/notesSlides/notesSlide4.xml" ContentType="application/vnd.openxmlformats-officedocument.presentationml.notesSlide+xml"/>
  <Override PartName="/ppt/tags/tag120.xml" ContentType="application/vnd.openxmlformats-officedocument.presentationml.tags+xml"/>
  <Override PartName="/ppt/notesSlides/notesSlide5.xml" ContentType="application/vnd.openxmlformats-officedocument.presentationml.notesSlide+xml"/>
  <Override PartName="/ppt/tags/tag121.xml" ContentType="application/vnd.openxmlformats-officedocument.presentationml.tags+xml"/>
  <Override PartName="/ppt/notesSlides/notesSlide6.xml" ContentType="application/vnd.openxmlformats-officedocument.presentationml.notesSlide+xml"/>
  <Override PartName="/ppt/tags/tag122.xml" ContentType="application/vnd.openxmlformats-officedocument.presentationml.tags+xml"/>
  <Override PartName="/ppt/notesSlides/notesSlide7.xml" ContentType="application/vnd.openxmlformats-officedocument.presentationml.notesSlide+xml"/>
  <Override PartName="/ppt/tags/tag123.xml" ContentType="application/vnd.openxmlformats-officedocument.presentationml.tags+xml"/>
  <Override PartName="/ppt/notesSlides/notesSlide8.xml" ContentType="application/vnd.openxmlformats-officedocument.presentationml.notesSlide+xml"/>
  <Override PartName="/ppt/tags/tag124.xml" ContentType="application/vnd.openxmlformats-officedocument.presentationml.tags+xml"/>
  <Override PartName="/ppt/notesSlides/notesSlide9.xml" ContentType="application/vnd.openxmlformats-officedocument.presentationml.notesSlide+xml"/>
  <Override PartName="/ppt/tags/tag125.xml" ContentType="application/vnd.openxmlformats-officedocument.presentationml.tags+xml"/>
  <Override PartName="/ppt/notesSlides/notesSlide10.xml" ContentType="application/vnd.openxmlformats-officedocument.presentationml.notesSlide+xml"/>
  <Override PartName="/ppt/tags/tag126.xml" ContentType="application/vnd.openxmlformats-officedocument.presentationml.tags+xml"/>
  <Override PartName="/ppt/notesSlides/notesSlide11.xml" ContentType="application/vnd.openxmlformats-officedocument.presentationml.notesSlide+xml"/>
  <Override PartName="/ppt/tags/tag127.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04" r:id="rId5"/>
    <p:sldMasterId id="2147483760" r:id="rId6"/>
    <p:sldMasterId id="2147483800" r:id="rId7"/>
  </p:sldMasterIdLst>
  <p:notesMasterIdLst>
    <p:notesMasterId r:id="rId22"/>
  </p:notesMasterIdLst>
  <p:handoutMasterIdLst>
    <p:handoutMasterId r:id="rId23"/>
  </p:handoutMasterIdLst>
  <p:sldIdLst>
    <p:sldId id="8721" r:id="rId8"/>
    <p:sldId id="8739" r:id="rId9"/>
    <p:sldId id="8747" r:id="rId10"/>
    <p:sldId id="8753" r:id="rId11"/>
    <p:sldId id="8764" r:id="rId12"/>
    <p:sldId id="8757" r:id="rId13"/>
    <p:sldId id="8750" r:id="rId14"/>
    <p:sldId id="8754" r:id="rId15"/>
    <p:sldId id="8768" r:id="rId16"/>
    <p:sldId id="2071" r:id="rId17"/>
    <p:sldId id="8759" r:id="rId18"/>
    <p:sldId id="8760" r:id="rId19"/>
    <p:sldId id="8766" r:id="rId20"/>
    <p:sldId id="8769" r:id="rId21"/>
  </p:sldIdLst>
  <p:sldSz cx="12192000" cy="6858000"/>
  <p:notesSz cx="6669088" cy="9926638"/>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6B8D000-F82D-2D0C-51ED-428BE9EB0964}" name="Nikolaj Godsk Vestergaard" initials="NGV" userId="S::ngv@ramboll.com::13f6e931-e8bb-4f58-9241-2f10614c3355" providerId="AD"/>
  <p188:author id="{60F7C223-4C18-FD4B-A6A9-C7DF1445EE49}" name="Matilde Bay Lyhne" initials="MBL" userId="S::MBLH@ramboll.com::a039d037-0c3d-4f54-991e-c2f61f8db783" providerId="AD"/>
  <p188:author id="{E2AB4229-5360-8B8D-47A9-CBB0842CF039}" name="Stine Rauff Bommersholdt" initials="SRB" userId="S::srb@ramboll.com::bb454674-bbcb-4315-8711-7c6e7a96d6c8" providerId="AD"/>
  <p188:author id="{E763F33A-282B-3A02-CBE0-C9F036E4D86F}" name="Mia Rytter Lund" initials="ML" userId="S::mryl@ramboll.com::fd5a37df-57b5-4ab7-b42f-f051b0300ae8" providerId="AD"/>
  <p188:author id="{92657D86-AABF-8C4C-6F51-D65416DCF824}" name="Line Pors Jørgensen" initials="LJ" userId="S::lej@ramboll.com::0132e566-f4bf-401a-a981-ca4845cdd2a4" providerId="AD"/>
  <p188:author id="{0BA25B9C-FEEF-EEBE-D988-74E296632A26}" name="Ida Høst Poulsen" initials="IHP" userId="S::IHPN@ramboll.com::2d088ed6-0a98-46db-a6ce-9daf67945352" providerId="AD"/>
  <p188:author id="{B8EB43D8-BA93-3328-CB14-FF93A5F1FBF8}" name="Helle Marie Andersen" initials="HMA" userId="S::hma@ramboll.com::4a3227bc-3134-4031-a68f-9facf9df4a95" providerId="AD"/>
  <p188:author id="{FD6096FA-94D4-FC42-A793-12E6BD8212EE}" name="Line Pors Jørgensen" initials="LPJ" userId="S::LEJ@ramboll.com::0132e566-f4bf-401a-a981-ca4845cdd2a4" providerId="AD"/>
  <p188:author id="{206940FC-A99F-6378-E12A-33EDEA0780C5}" name="Sophie Bayer" initials="SB" userId="S::AECB@ramboll.com::ede9276c-710b-4378-937b-bdc2eba6c543" providerId="AD"/>
  <p188:author id="{C1F161FD-E976-00BF-7048-A16D50EA37DE}" name="Mia Rytter Lund" initials="MRL" userId="S::MRYL@ramboll.com::fd5a37df-57b5-4ab7-b42f-f051b0300ae8"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E6E6E6"/>
    <a:srgbClr val="FFFFFF"/>
    <a:srgbClr val="273F68"/>
    <a:srgbClr val="FFD11D"/>
    <a:srgbClr val="D5B429"/>
    <a:srgbClr val="DDC251"/>
    <a:srgbClr val="E4CF74"/>
    <a:srgbClr val="BD9ADD"/>
    <a:srgbClr val="EFF2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04E4D9-CF93-432F-8FB6-65B18EEAADFD}" v="2" dt="2024-06-18T07:49:26.3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54"/>
    <p:restoredTop sz="95718" autoAdjust="0"/>
  </p:normalViewPr>
  <p:slideViewPr>
    <p:cSldViewPr snapToGrid="0">
      <p:cViewPr varScale="1">
        <p:scale>
          <a:sx n="126" d="100"/>
          <a:sy n="126" d="100"/>
        </p:scale>
        <p:origin x="402" y="9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da Høst Poulsen" userId="2d088ed6-0a98-46db-a6ce-9daf67945352" providerId="ADAL" clId="{0B04E4D9-CF93-432F-8FB6-65B18EEAADFD}"/>
    <pc:docChg chg="custSel addSld delSld modSld">
      <pc:chgData name="Ida Høst Poulsen" userId="2d088ed6-0a98-46db-a6ce-9daf67945352" providerId="ADAL" clId="{0B04E4D9-CF93-432F-8FB6-65B18EEAADFD}" dt="2024-06-20T10:41:41.250" v="44" actId="207"/>
      <pc:docMkLst>
        <pc:docMk/>
      </pc:docMkLst>
      <pc:sldChg chg="delSp add mod modNotesTx">
        <pc:chgData name="Ida Høst Poulsen" userId="2d088ed6-0a98-46db-a6ce-9daf67945352" providerId="ADAL" clId="{0B04E4D9-CF93-432F-8FB6-65B18EEAADFD}" dt="2024-06-18T07:47:25.925" v="3" actId="478"/>
        <pc:sldMkLst>
          <pc:docMk/>
          <pc:sldMk cId="4132159002" sldId="2071"/>
        </pc:sldMkLst>
        <pc:spChg chg="del">
          <ac:chgData name="Ida Høst Poulsen" userId="2d088ed6-0a98-46db-a6ce-9daf67945352" providerId="ADAL" clId="{0B04E4D9-CF93-432F-8FB6-65B18EEAADFD}" dt="2024-06-18T07:47:24.964" v="2" actId="478"/>
          <ac:spMkLst>
            <pc:docMk/>
            <pc:sldMk cId="4132159002" sldId="2071"/>
            <ac:spMk id="7" creationId="{FB1EF8C1-42AB-3837-6CB6-E03C4B7874B8}"/>
          </ac:spMkLst>
        </pc:spChg>
        <pc:picChg chg="del">
          <ac:chgData name="Ida Høst Poulsen" userId="2d088ed6-0a98-46db-a6ce-9daf67945352" providerId="ADAL" clId="{0B04E4D9-CF93-432F-8FB6-65B18EEAADFD}" dt="2024-06-18T07:47:25.925" v="3" actId="478"/>
          <ac:picMkLst>
            <pc:docMk/>
            <pc:sldMk cId="4132159002" sldId="2071"/>
            <ac:picMk id="8" creationId="{48CB32FC-7535-A821-90E6-5F9FC3B2AF0F}"/>
          </ac:picMkLst>
        </pc:picChg>
      </pc:sldChg>
      <pc:sldChg chg="modSp mod">
        <pc:chgData name="Ida Høst Poulsen" userId="2d088ed6-0a98-46db-a6ce-9daf67945352" providerId="ADAL" clId="{0B04E4D9-CF93-432F-8FB6-65B18EEAADFD}" dt="2024-06-20T10:41:41.250" v="44" actId="207"/>
        <pc:sldMkLst>
          <pc:docMk/>
          <pc:sldMk cId="297021031" sldId="8721"/>
        </pc:sldMkLst>
        <pc:spChg chg="mod">
          <ac:chgData name="Ida Høst Poulsen" userId="2d088ed6-0a98-46db-a6ce-9daf67945352" providerId="ADAL" clId="{0B04E4D9-CF93-432F-8FB6-65B18EEAADFD}" dt="2024-06-20T10:41:41.250" v="44" actId="207"/>
          <ac:spMkLst>
            <pc:docMk/>
            <pc:sldMk cId="297021031" sldId="8721"/>
            <ac:spMk id="3" creationId="{5D8B3674-E05D-FFE8-509D-72F6614D164C}"/>
          </ac:spMkLst>
        </pc:spChg>
      </pc:sldChg>
      <pc:sldChg chg="del">
        <pc:chgData name="Ida Høst Poulsen" userId="2d088ed6-0a98-46db-a6ce-9daf67945352" providerId="ADAL" clId="{0B04E4D9-CF93-432F-8FB6-65B18EEAADFD}" dt="2024-06-18T07:50:08.374" v="9" actId="2696"/>
        <pc:sldMkLst>
          <pc:docMk/>
          <pc:sldMk cId="3434824184" sldId="8767"/>
        </pc:sldMkLst>
      </pc:sldChg>
      <pc:sldChg chg="addSp delSp modSp new mod">
        <pc:chgData name="Ida Høst Poulsen" userId="2d088ed6-0a98-46db-a6ce-9daf67945352" providerId="ADAL" clId="{0B04E4D9-CF93-432F-8FB6-65B18EEAADFD}" dt="2024-06-18T07:51:34.705" v="13" actId="1076"/>
        <pc:sldMkLst>
          <pc:docMk/>
          <pc:sldMk cId="4142636790" sldId="8769"/>
        </pc:sldMkLst>
        <pc:spChg chg="del">
          <ac:chgData name="Ida Høst Poulsen" userId="2d088ed6-0a98-46db-a6ce-9daf67945352" providerId="ADAL" clId="{0B04E4D9-CF93-432F-8FB6-65B18EEAADFD}" dt="2024-06-18T07:49:12.582" v="7" actId="478"/>
          <ac:spMkLst>
            <pc:docMk/>
            <pc:sldMk cId="4142636790" sldId="8769"/>
            <ac:spMk id="2" creationId="{474E67A6-0170-53D3-3EE5-93EED48DA01C}"/>
          </ac:spMkLst>
        </pc:spChg>
        <pc:spChg chg="del">
          <ac:chgData name="Ida Høst Poulsen" userId="2d088ed6-0a98-46db-a6ce-9daf67945352" providerId="ADAL" clId="{0B04E4D9-CF93-432F-8FB6-65B18EEAADFD}" dt="2024-06-18T07:49:10.556" v="6" actId="478"/>
          <ac:spMkLst>
            <pc:docMk/>
            <pc:sldMk cId="4142636790" sldId="8769"/>
            <ac:spMk id="3" creationId="{6A5E9C61-74B6-EEC0-810E-A29D36CF8F9F}"/>
          </ac:spMkLst>
        </pc:spChg>
        <pc:spChg chg="add mod">
          <ac:chgData name="Ida Høst Poulsen" userId="2d088ed6-0a98-46db-a6ce-9daf67945352" providerId="ADAL" clId="{0B04E4D9-CF93-432F-8FB6-65B18EEAADFD}" dt="2024-06-18T07:49:26.331" v="8"/>
          <ac:spMkLst>
            <pc:docMk/>
            <pc:sldMk cId="4142636790" sldId="8769"/>
            <ac:spMk id="5" creationId="{9C60A940-4F06-498E-1C12-C3DD72FF094B}"/>
          </ac:spMkLst>
        </pc:spChg>
        <pc:spChg chg="add mod">
          <ac:chgData name="Ida Høst Poulsen" userId="2d088ed6-0a98-46db-a6ce-9daf67945352" providerId="ADAL" clId="{0B04E4D9-CF93-432F-8FB6-65B18EEAADFD}" dt="2024-06-18T07:49:26.331" v="8"/>
          <ac:spMkLst>
            <pc:docMk/>
            <pc:sldMk cId="4142636790" sldId="8769"/>
            <ac:spMk id="10" creationId="{2D1FFDDE-8B81-CD59-1B40-2422F1798D23}"/>
          </ac:spMkLst>
        </pc:spChg>
        <pc:spChg chg="add mod">
          <ac:chgData name="Ida Høst Poulsen" userId="2d088ed6-0a98-46db-a6ce-9daf67945352" providerId="ADAL" clId="{0B04E4D9-CF93-432F-8FB6-65B18EEAADFD}" dt="2024-06-18T07:49:26.331" v="8"/>
          <ac:spMkLst>
            <pc:docMk/>
            <pc:sldMk cId="4142636790" sldId="8769"/>
            <ac:spMk id="11" creationId="{8192CC9F-8266-8707-C6FB-326A09EDE830}"/>
          </ac:spMkLst>
        </pc:spChg>
        <pc:spChg chg="add mod">
          <ac:chgData name="Ida Høst Poulsen" userId="2d088ed6-0a98-46db-a6ce-9daf67945352" providerId="ADAL" clId="{0B04E4D9-CF93-432F-8FB6-65B18EEAADFD}" dt="2024-06-18T07:49:26.331" v="8"/>
          <ac:spMkLst>
            <pc:docMk/>
            <pc:sldMk cId="4142636790" sldId="8769"/>
            <ac:spMk id="12" creationId="{7693AEBC-4DCE-0544-FD4A-DBC5C08BBBD9}"/>
          </ac:spMkLst>
        </pc:spChg>
        <pc:spChg chg="add mod">
          <ac:chgData name="Ida Høst Poulsen" userId="2d088ed6-0a98-46db-a6ce-9daf67945352" providerId="ADAL" clId="{0B04E4D9-CF93-432F-8FB6-65B18EEAADFD}" dt="2024-06-18T07:49:26.331" v="8"/>
          <ac:spMkLst>
            <pc:docMk/>
            <pc:sldMk cId="4142636790" sldId="8769"/>
            <ac:spMk id="13" creationId="{3EEF3FCA-6E93-34C8-E36E-B7C9D6981FC6}"/>
          </ac:spMkLst>
        </pc:spChg>
        <pc:spChg chg="add mod">
          <ac:chgData name="Ida Høst Poulsen" userId="2d088ed6-0a98-46db-a6ce-9daf67945352" providerId="ADAL" clId="{0B04E4D9-CF93-432F-8FB6-65B18EEAADFD}" dt="2024-06-18T07:49:26.331" v="8"/>
          <ac:spMkLst>
            <pc:docMk/>
            <pc:sldMk cId="4142636790" sldId="8769"/>
            <ac:spMk id="14" creationId="{97FB49C7-B016-B0AC-35AF-052277EA5075}"/>
          </ac:spMkLst>
        </pc:spChg>
        <pc:spChg chg="add mod">
          <ac:chgData name="Ida Høst Poulsen" userId="2d088ed6-0a98-46db-a6ce-9daf67945352" providerId="ADAL" clId="{0B04E4D9-CF93-432F-8FB6-65B18EEAADFD}" dt="2024-06-18T07:49:26.331" v="8"/>
          <ac:spMkLst>
            <pc:docMk/>
            <pc:sldMk cId="4142636790" sldId="8769"/>
            <ac:spMk id="15" creationId="{83C8CD3B-8E57-7FF5-A649-AADE1865DD77}"/>
          </ac:spMkLst>
        </pc:spChg>
        <pc:spChg chg="add mod">
          <ac:chgData name="Ida Høst Poulsen" userId="2d088ed6-0a98-46db-a6ce-9daf67945352" providerId="ADAL" clId="{0B04E4D9-CF93-432F-8FB6-65B18EEAADFD}" dt="2024-06-18T07:49:26.331" v="8"/>
          <ac:spMkLst>
            <pc:docMk/>
            <pc:sldMk cId="4142636790" sldId="8769"/>
            <ac:spMk id="16" creationId="{AD9E5682-16FA-CA0F-10F3-00B4DA0B8F76}"/>
          </ac:spMkLst>
        </pc:spChg>
        <pc:spChg chg="add mod">
          <ac:chgData name="Ida Høst Poulsen" userId="2d088ed6-0a98-46db-a6ce-9daf67945352" providerId="ADAL" clId="{0B04E4D9-CF93-432F-8FB6-65B18EEAADFD}" dt="2024-06-18T07:49:26.331" v="8"/>
          <ac:spMkLst>
            <pc:docMk/>
            <pc:sldMk cId="4142636790" sldId="8769"/>
            <ac:spMk id="17" creationId="{50E31E9D-C3D0-AC95-E649-2D3697D360D4}"/>
          </ac:spMkLst>
        </pc:spChg>
        <pc:spChg chg="add mod">
          <ac:chgData name="Ida Høst Poulsen" userId="2d088ed6-0a98-46db-a6ce-9daf67945352" providerId="ADAL" clId="{0B04E4D9-CF93-432F-8FB6-65B18EEAADFD}" dt="2024-06-18T07:49:26.331" v="8"/>
          <ac:spMkLst>
            <pc:docMk/>
            <pc:sldMk cId="4142636790" sldId="8769"/>
            <ac:spMk id="18" creationId="{E9914525-F042-97B3-0A25-242DD4F7FE26}"/>
          </ac:spMkLst>
        </pc:spChg>
        <pc:spChg chg="add mod">
          <ac:chgData name="Ida Høst Poulsen" userId="2d088ed6-0a98-46db-a6ce-9daf67945352" providerId="ADAL" clId="{0B04E4D9-CF93-432F-8FB6-65B18EEAADFD}" dt="2024-06-18T07:49:26.331" v="8"/>
          <ac:spMkLst>
            <pc:docMk/>
            <pc:sldMk cId="4142636790" sldId="8769"/>
            <ac:spMk id="19" creationId="{38A0A2D1-BAAE-3BF4-44A4-C32A24C932AB}"/>
          </ac:spMkLst>
        </pc:spChg>
        <pc:spChg chg="add mod">
          <ac:chgData name="Ida Høst Poulsen" userId="2d088ed6-0a98-46db-a6ce-9daf67945352" providerId="ADAL" clId="{0B04E4D9-CF93-432F-8FB6-65B18EEAADFD}" dt="2024-06-18T07:49:26.331" v="8"/>
          <ac:spMkLst>
            <pc:docMk/>
            <pc:sldMk cId="4142636790" sldId="8769"/>
            <ac:spMk id="20" creationId="{EF65EBDD-531F-E0BD-2523-7B49D30DB742}"/>
          </ac:spMkLst>
        </pc:spChg>
        <pc:spChg chg="add mod">
          <ac:chgData name="Ida Høst Poulsen" userId="2d088ed6-0a98-46db-a6ce-9daf67945352" providerId="ADAL" clId="{0B04E4D9-CF93-432F-8FB6-65B18EEAADFD}" dt="2024-06-18T07:49:26.331" v="8"/>
          <ac:spMkLst>
            <pc:docMk/>
            <pc:sldMk cId="4142636790" sldId="8769"/>
            <ac:spMk id="21" creationId="{44A1E4A0-D846-31D0-3365-A371B7A86C0A}"/>
          </ac:spMkLst>
        </pc:spChg>
        <pc:spChg chg="add mod">
          <ac:chgData name="Ida Høst Poulsen" userId="2d088ed6-0a98-46db-a6ce-9daf67945352" providerId="ADAL" clId="{0B04E4D9-CF93-432F-8FB6-65B18EEAADFD}" dt="2024-06-18T07:49:26.331" v="8"/>
          <ac:spMkLst>
            <pc:docMk/>
            <pc:sldMk cId="4142636790" sldId="8769"/>
            <ac:spMk id="22" creationId="{455FDCCC-3596-32FA-F788-231B3587A9C3}"/>
          </ac:spMkLst>
        </pc:spChg>
        <pc:spChg chg="add mod">
          <ac:chgData name="Ida Høst Poulsen" userId="2d088ed6-0a98-46db-a6ce-9daf67945352" providerId="ADAL" clId="{0B04E4D9-CF93-432F-8FB6-65B18EEAADFD}" dt="2024-06-18T07:49:26.331" v="8"/>
          <ac:spMkLst>
            <pc:docMk/>
            <pc:sldMk cId="4142636790" sldId="8769"/>
            <ac:spMk id="23" creationId="{2404E13A-A558-C11F-A0A9-6559046A720C}"/>
          </ac:spMkLst>
        </pc:spChg>
        <pc:spChg chg="add mod">
          <ac:chgData name="Ida Høst Poulsen" userId="2d088ed6-0a98-46db-a6ce-9daf67945352" providerId="ADAL" clId="{0B04E4D9-CF93-432F-8FB6-65B18EEAADFD}" dt="2024-06-18T07:49:26.331" v="8"/>
          <ac:spMkLst>
            <pc:docMk/>
            <pc:sldMk cId="4142636790" sldId="8769"/>
            <ac:spMk id="24" creationId="{20A4CE4E-91D3-8E0A-28BD-2634829ED44C}"/>
          </ac:spMkLst>
        </pc:spChg>
        <pc:spChg chg="add mod">
          <ac:chgData name="Ida Høst Poulsen" userId="2d088ed6-0a98-46db-a6ce-9daf67945352" providerId="ADAL" clId="{0B04E4D9-CF93-432F-8FB6-65B18EEAADFD}" dt="2024-06-18T07:49:26.331" v="8"/>
          <ac:spMkLst>
            <pc:docMk/>
            <pc:sldMk cId="4142636790" sldId="8769"/>
            <ac:spMk id="25" creationId="{0B817B74-EDBE-12CC-25F9-1B4BFE157ABF}"/>
          </ac:spMkLst>
        </pc:spChg>
        <pc:spChg chg="add mod">
          <ac:chgData name="Ida Høst Poulsen" userId="2d088ed6-0a98-46db-a6ce-9daf67945352" providerId="ADAL" clId="{0B04E4D9-CF93-432F-8FB6-65B18EEAADFD}" dt="2024-06-18T07:49:26.331" v="8"/>
          <ac:spMkLst>
            <pc:docMk/>
            <pc:sldMk cId="4142636790" sldId="8769"/>
            <ac:spMk id="26" creationId="{5262D66D-6744-161F-C33D-50E23D4C34D3}"/>
          </ac:spMkLst>
        </pc:spChg>
        <pc:spChg chg="add mod">
          <ac:chgData name="Ida Høst Poulsen" userId="2d088ed6-0a98-46db-a6ce-9daf67945352" providerId="ADAL" clId="{0B04E4D9-CF93-432F-8FB6-65B18EEAADFD}" dt="2024-06-18T07:49:26.331" v="8"/>
          <ac:spMkLst>
            <pc:docMk/>
            <pc:sldMk cId="4142636790" sldId="8769"/>
            <ac:spMk id="27" creationId="{045BFE1C-1DB3-3303-3B3A-79EC67F1FB2D}"/>
          </ac:spMkLst>
        </pc:spChg>
        <pc:spChg chg="add mod">
          <ac:chgData name="Ida Høst Poulsen" userId="2d088ed6-0a98-46db-a6ce-9daf67945352" providerId="ADAL" clId="{0B04E4D9-CF93-432F-8FB6-65B18EEAADFD}" dt="2024-06-18T07:49:26.331" v="8"/>
          <ac:spMkLst>
            <pc:docMk/>
            <pc:sldMk cId="4142636790" sldId="8769"/>
            <ac:spMk id="28" creationId="{D9F97F19-830C-9021-351A-4F3978F2963D}"/>
          </ac:spMkLst>
        </pc:spChg>
        <pc:spChg chg="add mod">
          <ac:chgData name="Ida Høst Poulsen" userId="2d088ed6-0a98-46db-a6ce-9daf67945352" providerId="ADAL" clId="{0B04E4D9-CF93-432F-8FB6-65B18EEAADFD}" dt="2024-06-18T07:49:26.331" v="8"/>
          <ac:spMkLst>
            <pc:docMk/>
            <pc:sldMk cId="4142636790" sldId="8769"/>
            <ac:spMk id="29" creationId="{B724FA90-97F8-3C13-1748-C2DC663237E0}"/>
          </ac:spMkLst>
        </pc:spChg>
        <pc:spChg chg="add mod">
          <ac:chgData name="Ida Høst Poulsen" userId="2d088ed6-0a98-46db-a6ce-9daf67945352" providerId="ADAL" clId="{0B04E4D9-CF93-432F-8FB6-65B18EEAADFD}" dt="2024-06-18T07:49:26.331" v="8"/>
          <ac:spMkLst>
            <pc:docMk/>
            <pc:sldMk cId="4142636790" sldId="8769"/>
            <ac:spMk id="30" creationId="{317F6541-A045-EFBA-A9AA-2485DF9D1215}"/>
          </ac:spMkLst>
        </pc:spChg>
        <pc:spChg chg="add mod">
          <ac:chgData name="Ida Høst Poulsen" userId="2d088ed6-0a98-46db-a6ce-9daf67945352" providerId="ADAL" clId="{0B04E4D9-CF93-432F-8FB6-65B18EEAADFD}" dt="2024-06-18T07:49:26.331" v="8"/>
          <ac:spMkLst>
            <pc:docMk/>
            <pc:sldMk cId="4142636790" sldId="8769"/>
            <ac:spMk id="31" creationId="{B1E1D68B-4948-A584-7097-24ADCFE0FBC1}"/>
          </ac:spMkLst>
        </pc:spChg>
        <pc:spChg chg="add mod">
          <ac:chgData name="Ida Høst Poulsen" userId="2d088ed6-0a98-46db-a6ce-9daf67945352" providerId="ADAL" clId="{0B04E4D9-CF93-432F-8FB6-65B18EEAADFD}" dt="2024-06-18T07:49:26.331" v="8"/>
          <ac:spMkLst>
            <pc:docMk/>
            <pc:sldMk cId="4142636790" sldId="8769"/>
            <ac:spMk id="32" creationId="{18382FB4-03C5-7900-2336-B63050D8CE16}"/>
          </ac:spMkLst>
        </pc:spChg>
        <pc:spChg chg="add mod">
          <ac:chgData name="Ida Høst Poulsen" userId="2d088ed6-0a98-46db-a6ce-9daf67945352" providerId="ADAL" clId="{0B04E4D9-CF93-432F-8FB6-65B18EEAADFD}" dt="2024-06-18T07:49:26.331" v="8"/>
          <ac:spMkLst>
            <pc:docMk/>
            <pc:sldMk cId="4142636790" sldId="8769"/>
            <ac:spMk id="33" creationId="{359176BE-D40A-38C9-8A91-C79DAED447C0}"/>
          </ac:spMkLst>
        </pc:spChg>
        <pc:spChg chg="add mod">
          <ac:chgData name="Ida Høst Poulsen" userId="2d088ed6-0a98-46db-a6ce-9daf67945352" providerId="ADAL" clId="{0B04E4D9-CF93-432F-8FB6-65B18EEAADFD}" dt="2024-06-18T07:49:26.331" v="8"/>
          <ac:spMkLst>
            <pc:docMk/>
            <pc:sldMk cId="4142636790" sldId="8769"/>
            <ac:spMk id="34" creationId="{02A9DD05-C3BE-0015-B878-59FA6D8174E8}"/>
          </ac:spMkLst>
        </pc:spChg>
        <pc:spChg chg="add mod">
          <ac:chgData name="Ida Høst Poulsen" userId="2d088ed6-0a98-46db-a6ce-9daf67945352" providerId="ADAL" clId="{0B04E4D9-CF93-432F-8FB6-65B18EEAADFD}" dt="2024-06-18T07:49:26.331" v="8"/>
          <ac:spMkLst>
            <pc:docMk/>
            <pc:sldMk cId="4142636790" sldId="8769"/>
            <ac:spMk id="35" creationId="{D7B5398B-FC37-82FE-ADD5-4C58BC6F7ADE}"/>
          </ac:spMkLst>
        </pc:spChg>
        <pc:spChg chg="add mod">
          <ac:chgData name="Ida Høst Poulsen" userId="2d088ed6-0a98-46db-a6ce-9daf67945352" providerId="ADAL" clId="{0B04E4D9-CF93-432F-8FB6-65B18EEAADFD}" dt="2024-06-18T07:49:26.331" v="8"/>
          <ac:spMkLst>
            <pc:docMk/>
            <pc:sldMk cId="4142636790" sldId="8769"/>
            <ac:spMk id="36" creationId="{FDB491D5-7F36-41E6-6A24-1DE95B94A1EB}"/>
          </ac:spMkLst>
        </pc:spChg>
        <pc:spChg chg="add mod">
          <ac:chgData name="Ida Høst Poulsen" userId="2d088ed6-0a98-46db-a6ce-9daf67945352" providerId="ADAL" clId="{0B04E4D9-CF93-432F-8FB6-65B18EEAADFD}" dt="2024-06-18T07:49:26.331" v="8"/>
          <ac:spMkLst>
            <pc:docMk/>
            <pc:sldMk cId="4142636790" sldId="8769"/>
            <ac:spMk id="37" creationId="{DC93403A-4BAA-2FCC-D5D7-9EDDA3D7AF05}"/>
          </ac:spMkLst>
        </pc:spChg>
        <pc:spChg chg="add mod">
          <ac:chgData name="Ida Høst Poulsen" userId="2d088ed6-0a98-46db-a6ce-9daf67945352" providerId="ADAL" clId="{0B04E4D9-CF93-432F-8FB6-65B18EEAADFD}" dt="2024-06-18T07:49:26.331" v="8"/>
          <ac:spMkLst>
            <pc:docMk/>
            <pc:sldMk cId="4142636790" sldId="8769"/>
            <ac:spMk id="38" creationId="{1072C3E2-09B1-9B45-3F65-40DEE534A454}"/>
          </ac:spMkLst>
        </pc:spChg>
        <pc:spChg chg="add mod">
          <ac:chgData name="Ida Høst Poulsen" userId="2d088ed6-0a98-46db-a6ce-9daf67945352" providerId="ADAL" clId="{0B04E4D9-CF93-432F-8FB6-65B18EEAADFD}" dt="2024-06-18T07:49:26.331" v="8"/>
          <ac:spMkLst>
            <pc:docMk/>
            <pc:sldMk cId="4142636790" sldId="8769"/>
            <ac:spMk id="39" creationId="{E87F7660-735D-E872-C800-B977FAF19EDE}"/>
          </ac:spMkLst>
        </pc:spChg>
        <pc:spChg chg="add mod">
          <ac:chgData name="Ida Høst Poulsen" userId="2d088ed6-0a98-46db-a6ce-9daf67945352" providerId="ADAL" clId="{0B04E4D9-CF93-432F-8FB6-65B18EEAADFD}" dt="2024-06-18T07:49:26.331" v="8"/>
          <ac:spMkLst>
            <pc:docMk/>
            <pc:sldMk cId="4142636790" sldId="8769"/>
            <ac:spMk id="40" creationId="{9DF99EF4-D657-2F4B-D4D1-50AEF0536423}"/>
          </ac:spMkLst>
        </pc:spChg>
        <pc:spChg chg="add mod">
          <ac:chgData name="Ida Høst Poulsen" userId="2d088ed6-0a98-46db-a6ce-9daf67945352" providerId="ADAL" clId="{0B04E4D9-CF93-432F-8FB6-65B18EEAADFD}" dt="2024-06-18T07:49:26.331" v="8"/>
          <ac:spMkLst>
            <pc:docMk/>
            <pc:sldMk cId="4142636790" sldId="8769"/>
            <ac:spMk id="41" creationId="{4EAC79A7-6136-1E2D-677C-E0210B4C3ED6}"/>
          </ac:spMkLst>
        </pc:spChg>
        <pc:spChg chg="add mod">
          <ac:chgData name="Ida Høst Poulsen" userId="2d088ed6-0a98-46db-a6ce-9daf67945352" providerId="ADAL" clId="{0B04E4D9-CF93-432F-8FB6-65B18EEAADFD}" dt="2024-06-18T07:49:26.331" v="8"/>
          <ac:spMkLst>
            <pc:docMk/>
            <pc:sldMk cId="4142636790" sldId="8769"/>
            <ac:spMk id="42" creationId="{64CA91C1-F707-F5B7-9697-960264A197DB}"/>
          </ac:spMkLst>
        </pc:spChg>
        <pc:spChg chg="add mod">
          <ac:chgData name="Ida Høst Poulsen" userId="2d088ed6-0a98-46db-a6ce-9daf67945352" providerId="ADAL" clId="{0B04E4D9-CF93-432F-8FB6-65B18EEAADFD}" dt="2024-06-18T07:49:26.331" v="8"/>
          <ac:spMkLst>
            <pc:docMk/>
            <pc:sldMk cId="4142636790" sldId="8769"/>
            <ac:spMk id="43" creationId="{35729CDE-A53D-F5FE-954C-7003547C219F}"/>
          </ac:spMkLst>
        </pc:spChg>
        <pc:spChg chg="add mod">
          <ac:chgData name="Ida Høst Poulsen" userId="2d088ed6-0a98-46db-a6ce-9daf67945352" providerId="ADAL" clId="{0B04E4D9-CF93-432F-8FB6-65B18EEAADFD}" dt="2024-06-18T07:49:26.331" v="8"/>
          <ac:spMkLst>
            <pc:docMk/>
            <pc:sldMk cId="4142636790" sldId="8769"/>
            <ac:spMk id="44" creationId="{F7ACAF07-9D24-17E5-1D25-C6FA1C238291}"/>
          </ac:spMkLst>
        </pc:spChg>
        <pc:spChg chg="add mod">
          <ac:chgData name="Ida Høst Poulsen" userId="2d088ed6-0a98-46db-a6ce-9daf67945352" providerId="ADAL" clId="{0B04E4D9-CF93-432F-8FB6-65B18EEAADFD}" dt="2024-06-18T07:49:26.331" v="8"/>
          <ac:spMkLst>
            <pc:docMk/>
            <pc:sldMk cId="4142636790" sldId="8769"/>
            <ac:spMk id="45" creationId="{11BC9C7D-57F7-9992-6102-4D8B09A11CB5}"/>
          </ac:spMkLst>
        </pc:spChg>
        <pc:spChg chg="add mod">
          <ac:chgData name="Ida Høst Poulsen" userId="2d088ed6-0a98-46db-a6ce-9daf67945352" providerId="ADAL" clId="{0B04E4D9-CF93-432F-8FB6-65B18EEAADFD}" dt="2024-06-18T07:49:26.331" v="8"/>
          <ac:spMkLst>
            <pc:docMk/>
            <pc:sldMk cId="4142636790" sldId="8769"/>
            <ac:spMk id="46" creationId="{0E2323A5-8ADC-339E-66C0-3E6400C4129B}"/>
          </ac:spMkLst>
        </pc:spChg>
        <pc:spChg chg="add mod">
          <ac:chgData name="Ida Høst Poulsen" userId="2d088ed6-0a98-46db-a6ce-9daf67945352" providerId="ADAL" clId="{0B04E4D9-CF93-432F-8FB6-65B18EEAADFD}" dt="2024-06-18T07:49:26.331" v="8"/>
          <ac:spMkLst>
            <pc:docMk/>
            <pc:sldMk cId="4142636790" sldId="8769"/>
            <ac:spMk id="47" creationId="{AAD89F88-E392-D522-844F-4704711264DF}"/>
          </ac:spMkLst>
        </pc:spChg>
        <pc:spChg chg="add mod">
          <ac:chgData name="Ida Høst Poulsen" userId="2d088ed6-0a98-46db-a6ce-9daf67945352" providerId="ADAL" clId="{0B04E4D9-CF93-432F-8FB6-65B18EEAADFD}" dt="2024-06-18T07:49:26.331" v="8"/>
          <ac:spMkLst>
            <pc:docMk/>
            <pc:sldMk cId="4142636790" sldId="8769"/>
            <ac:spMk id="48" creationId="{3C4365BC-4A9A-B092-B452-0817EA0580E5}"/>
          </ac:spMkLst>
        </pc:spChg>
        <pc:spChg chg="add mod">
          <ac:chgData name="Ida Høst Poulsen" userId="2d088ed6-0a98-46db-a6ce-9daf67945352" providerId="ADAL" clId="{0B04E4D9-CF93-432F-8FB6-65B18EEAADFD}" dt="2024-06-18T07:49:26.331" v="8"/>
          <ac:spMkLst>
            <pc:docMk/>
            <pc:sldMk cId="4142636790" sldId="8769"/>
            <ac:spMk id="49" creationId="{6FB5155C-CB72-7A1F-327F-C793951736D9}"/>
          </ac:spMkLst>
        </pc:spChg>
        <pc:spChg chg="add mod">
          <ac:chgData name="Ida Høst Poulsen" userId="2d088ed6-0a98-46db-a6ce-9daf67945352" providerId="ADAL" clId="{0B04E4D9-CF93-432F-8FB6-65B18EEAADFD}" dt="2024-06-18T07:49:26.331" v="8"/>
          <ac:spMkLst>
            <pc:docMk/>
            <pc:sldMk cId="4142636790" sldId="8769"/>
            <ac:spMk id="50" creationId="{B3422326-D8FA-1F53-55BA-9F83545DAF14}"/>
          </ac:spMkLst>
        </pc:spChg>
        <pc:spChg chg="add mod">
          <ac:chgData name="Ida Høst Poulsen" userId="2d088ed6-0a98-46db-a6ce-9daf67945352" providerId="ADAL" clId="{0B04E4D9-CF93-432F-8FB6-65B18EEAADFD}" dt="2024-06-18T07:49:26.331" v="8"/>
          <ac:spMkLst>
            <pc:docMk/>
            <pc:sldMk cId="4142636790" sldId="8769"/>
            <ac:spMk id="51" creationId="{2FA4F64F-F8E6-BD7F-86AF-5BAD6FE8E831}"/>
          </ac:spMkLst>
        </pc:spChg>
        <pc:spChg chg="add mod">
          <ac:chgData name="Ida Høst Poulsen" userId="2d088ed6-0a98-46db-a6ce-9daf67945352" providerId="ADAL" clId="{0B04E4D9-CF93-432F-8FB6-65B18EEAADFD}" dt="2024-06-18T07:49:26.331" v="8"/>
          <ac:spMkLst>
            <pc:docMk/>
            <pc:sldMk cId="4142636790" sldId="8769"/>
            <ac:spMk id="52" creationId="{DF8C6EDB-B6F3-F94D-4B67-F07572FE56B9}"/>
          </ac:spMkLst>
        </pc:spChg>
        <pc:spChg chg="add mod">
          <ac:chgData name="Ida Høst Poulsen" userId="2d088ed6-0a98-46db-a6ce-9daf67945352" providerId="ADAL" clId="{0B04E4D9-CF93-432F-8FB6-65B18EEAADFD}" dt="2024-06-18T07:49:26.331" v="8"/>
          <ac:spMkLst>
            <pc:docMk/>
            <pc:sldMk cId="4142636790" sldId="8769"/>
            <ac:spMk id="53" creationId="{34F6247B-917B-8000-B790-701D1BC02A2C}"/>
          </ac:spMkLst>
        </pc:spChg>
        <pc:spChg chg="add mod">
          <ac:chgData name="Ida Høst Poulsen" userId="2d088ed6-0a98-46db-a6ce-9daf67945352" providerId="ADAL" clId="{0B04E4D9-CF93-432F-8FB6-65B18EEAADFD}" dt="2024-06-18T07:49:26.331" v="8"/>
          <ac:spMkLst>
            <pc:docMk/>
            <pc:sldMk cId="4142636790" sldId="8769"/>
            <ac:spMk id="54" creationId="{90F35358-99C7-8326-D57F-543EB3CC03BB}"/>
          </ac:spMkLst>
        </pc:spChg>
        <pc:spChg chg="add mod">
          <ac:chgData name="Ida Høst Poulsen" userId="2d088ed6-0a98-46db-a6ce-9daf67945352" providerId="ADAL" clId="{0B04E4D9-CF93-432F-8FB6-65B18EEAADFD}" dt="2024-06-18T07:49:26.331" v="8"/>
          <ac:spMkLst>
            <pc:docMk/>
            <pc:sldMk cId="4142636790" sldId="8769"/>
            <ac:spMk id="55" creationId="{54ABDBE9-30A4-C39B-B8F5-E161000FC49F}"/>
          </ac:spMkLst>
        </pc:spChg>
        <pc:spChg chg="add mod">
          <ac:chgData name="Ida Høst Poulsen" userId="2d088ed6-0a98-46db-a6ce-9daf67945352" providerId="ADAL" clId="{0B04E4D9-CF93-432F-8FB6-65B18EEAADFD}" dt="2024-06-18T07:49:26.331" v="8"/>
          <ac:spMkLst>
            <pc:docMk/>
            <pc:sldMk cId="4142636790" sldId="8769"/>
            <ac:spMk id="56" creationId="{9B22D992-B86B-9C42-A3B2-A69A4BB30863}"/>
          </ac:spMkLst>
        </pc:spChg>
        <pc:spChg chg="add mod">
          <ac:chgData name="Ida Høst Poulsen" userId="2d088ed6-0a98-46db-a6ce-9daf67945352" providerId="ADAL" clId="{0B04E4D9-CF93-432F-8FB6-65B18EEAADFD}" dt="2024-06-18T07:49:26.331" v="8"/>
          <ac:spMkLst>
            <pc:docMk/>
            <pc:sldMk cId="4142636790" sldId="8769"/>
            <ac:spMk id="57" creationId="{2373C389-DC72-22A6-BEE1-AFF1005471CA}"/>
          </ac:spMkLst>
        </pc:spChg>
        <pc:spChg chg="add mod">
          <ac:chgData name="Ida Høst Poulsen" userId="2d088ed6-0a98-46db-a6ce-9daf67945352" providerId="ADAL" clId="{0B04E4D9-CF93-432F-8FB6-65B18EEAADFD}" dt="2024-06-18T07:49:26.331" v="8"/>
          <ac:spMkLst>
            <pc:docMk/>
            <pc:sldMk cId="4142636790" sldId="8769"/>
            <ac:spMk id="58" creationId="{03AC8404-6A8F-7E58-00CD-235C085DD7C0}"/>
          </ac:spMkLst>
        </pc:spChg>
        <pc:spChg chg="add mod">
          <ac:chgData name="Ida Høst Poulsen" userId="2d088ed6-0a98-46db-a6ce-9daf67945352" providerId="ADAL" clId="{0B04E4D9-CF93-432F-8FB6-65B18EEAADFD}" dt="2024-06-18T07:49:26.331" v="8"/>
          <ac:spMkLst>
            <pc:docMk/>
            <pc:sldMk cId="4142636790" sldId="8769"/>
            <ac:spMk id="59" creationId="{2F0C9D58-67E7-1DC5-ED2F-34E1B8922A1D}"/>
          </ac:spMkLst>
        </pc:spChg>
        <pc:spChg chg="add mod">
          <ac:chgData name="Ida Høst Poulsen" userId="2d088ed6-0a98-46db-a6ce-9daf67945352" providerId="ADAL" clId="{0B04E4D9-CF93-432F-8FB6-65B18EEAADFD}" dt="2024-06-18T07:49:26.331" v="8"/>
          <ac:spMkLst>
            <pc:docMk/>
            <pc:sldMk cId="4142636790" sldId="8769"/>
            <ac:spMk id="60" creationId="{95ED06C2-584A-83F6-02A9-725D229F9B30}"/>
          </ac:spMkLst>
        </pc:spChg>
        <pc:spChg chg="add mod">
          <ac:chgData name="Ida Høst Poulsen" userId="2d088ed6-0a98-46db-a6ce-9daf67945352" providerId="ADAL" clId="{0B04E4D9-CF93-432F-8FB6-65B18EEAADFD}" dt="2024-06-18T07:49:26.331" v="8"/>
          <ac:spMkLst>
            <pc:docMk/>
            <pc:sldMk cId="4142636790" sldId="8769"/>
            <ac:spMk id="61" creationId="{069BA4EA-68EE-0EE9-8331-6D1D1607372F}"/>
          </ac:spMkLst>
        </pc:spChg>
        <pc:spChg chg="add mod">
          <ac:chgData name="Ida Høst Poulsen" userId="2d088ed6-0a98-46db-a6ce-9daf67945352" providerId="ADAL" clId="{0B04E4D9-CF93-432F-8FB6-65B18EEAADFD}" dt="2024-06-18T07:49:26.331" v="8"/>
          <ac:spMkLst>
            <pc:docMk/>
            <pc:sldMk cId="4142636790" sldId="8769"/>
            <ac:spMk id="62" creationId="{05131B9D-2CD3-81BC-B7B9-5DF48A85BBFD}"/>
          </ac:spMkLst>
        </pc:spChg>
        <pc:spChg chg="add mod">
          <ac:chgData name="Ida Høst Poulsen" userId="2d088ed6-0a98-46db-a6ce-9daf67945352" providerId="ADAL" clId="{0B04E4D9-CF93-432F-8FB6-65B18EEAADFD}" dt="2024-06-18T07:49:26.331" v="8"/>
          <ac:spMkLst>
            <pc:docMk/>
            <pc:sldMk cId="4142636790" sldId="8769"/>
            <ac:spMk id="63" creationId="{E1638E9E-EFE4-209B-0663-3A0F38737BC7}"/>
          </ac:spMkLst>
        </pc:spChg>
        <pc:spChg chg="add mod">
          <ac:chgData name="Ida Høst Poulsen" userId="2d088ed6-0a98-46db-a6ce-9daf67945352" providerId="ADAL" clId="{0B04E4D9-CF93-432F-8FB6-65B18EEAADFD}" dt="2024-06-18T07:49:26.331" v="8"/>
          <ac:spMkLst>
            <pc:docMk/>
            <pc:sldMk cId="4142636790" sldId="8769"/>
            <ac:spMk id="64" creationId="{289DAC35-B4D1-8414-26FC-86CC3796DA11}"/>
          </ac:spMkLst>
        </pc:spChg>
        <pc:spChg chg="add mod">
          <ac:chgData name="Ida Høst Poulsen" userId="2d088ed6-0a98-46db-a6ce-9daf67945352" providerId="ADAL" clId="{0B04E4D9-CF93-432F-8FB6-65B18EEAADFD}" dt="2024-06-18T07:49:26.331" v="8"/>
          <ac:spMkLst>
            <pc:docMk/>
            <pc:sldMk cId="4142636790" sldId="8769"/>
            <ac:spMk id="65" creationId="{FA453D1A-83CC-4656-F569-01344C080119}"/>
          </ac:spMkLst>
        </pc:spChg>
        <pc:spChg chg="add mod">
          <ac:chgData name="Ida Høst Poulsen" userId="2d088ed6-0a98-46db-a6ce-9daf67945352" providerId="ADAL" clId="{0B04E4D9-CF93-432F-8FB6-65B18EEAADFD}" dt="2024-06-18T07:49:26.331" v="8"/>
          <ac:spMkLst>
            <pc:docMk/>
            <pc:sldMk cId="4142636790" sldId="8769"/>
            <ac:spMk id="66" creationId="{5F4EED9B-8086-BAA0-6920-C1C6ED3F158C}"/>
          </ac:spMkLst>
        </pc:spChg>
        <pc:spChg chg="add mod">
          <ac:chgData name="Ida Høst Poulsen" userId="2d088ed6-0a98-46db-a6ce-9daf67945352" providerId="ADAL" clId="{0B04E4D9-CF93-432F-8FB6-65B18EEAADFD}" dt="2024-06-18T07:49:26.331" v="8"/>
          <ac:spMkLst>
            <pc:docMk/>
            <pc:sldMk cId="4142636790" sldId="8769"/>
            <ac:spMk id="67" creationId="{48E01F9F-EA06-681A-DA21-44D915DCD17C}"/>
          </ac:spMkLst>
        </pc:spChg>
        <pc:spChg chg="add mod">
          <ac:chgData name="Ida Høst Poulsen" userId="2d088ed6-0a98-46db-a6ce-9daf67945352" providerId="ADAL" clId="{0B04E4D9-CF93-432F-8FB6-65B18EEAADFD}" dt="2024-06-18T07:49:26.331" v="8"/>
          <ac:spMkLst>
            <pc:docMk/>
            <pc:sldMk cId="4142636790" sldId="8769"/>
            <ac:spMk id="68" creationId="{B00289F4-961D-740E-E80A-6873AB831FA9}"/>
          </ac:spMkLst>
        </pc:spChg>
        <pc:spChg chg="add mod">
          <ac:chgData name="Ida Høst Poulsen" userId="2d088ed6-0a98-46db-a6ce-9daf67945352" providerId="ADAL" clId="{0B04E4D9-CF93-432F-8FB6-65B18EEAADFD}" dt="2024-06-18T07:49:26.331" v="8"/>
          <ac:spMkLst>
            <pc:docMk/>
            <pc:sldMk cId="4142636790" sldId="8769"/>
            <ac:spMk id="69" creationId="{40E943EB-9A97-224F-173D-8C9F26B81DBC}"/>
          </ac:spMkLst>
        </pc:spChg>
        <pc:spChg chg="add mod">
          <ac:chgData name="Ida Høst Poulsen" userId="2d088ed6-0a98-46db-a6ce-9daf67945352" providerId="ADAL" clId="{0B04E4D9-CF93-432F-8FB6-65B18EEAADFD}" dt="2024-06-18T07:49:26.331" v="8"/>
          <ac:spMkLst>
            <pc:docMk/>
            <pc:sldMk cId="4142636790" sldId="8769"/>
            <ac:spMk id="70" creationId="{37477BED-D71C-9F35-2927-5EB9EDB022D0}"/>
          </ac:spMkLst>
        </pc:spChg>
        <pc:spChg chg="add mod">
          <ac:chgData name="Ida Høst Poulsen" userId="2d088ed6-0a98-46db-a6ce-9daf67945352" providerId="ADAL" clId="{0B04E4D9-CF93-432F-8FB6-65B18EEAADFD}" dt="2024-06-18T07:49:26.331" v="8"/>
          <ac:spMkLst>
            <pc:docMk/>
            <pc:sldMk cId="4142636790" sldId="8769"/>
            <ac:spMk id="71" creationId="{BE2C6877-0790-BA41-8630-CF425CAB2A9D}"/>
          </ac:spMkLst>
        </pc:spChg>
        <pc:spChg chg="add mod">
          <ac:chgData name="Ida Høst Poulsen" userId="2d088ed6-0a98-46db-a6ce-9daf67945352" providerId="ADAL" clId="{0B04E4D9-CF93-432F-8FB6-65B18EEAADFD}" dt="2024-06-18T07:49:26.331" v="8"/>
          <ac:spMkLst>
            <pc:docMk/>
            <pc:sldMk cId="4142636790" sldId="8769"/>
            <ac:spMk id="72" creationId="{F3E72D00-1BC7-298A-53BE-7FDC0D5BB983}"/>
          </ac:spMkLst>
        </pc:spChg>
        <pc:spChg chg="add mod">
          <ac:chgData name="Ida Høst Poulsen" userId="2d088ed6-0a98-46db-a6ce-9daf67945352" providerId="ADAL" clId="{0B04E4D9-CF93-432F-8FB6-65B18EEAADFD}" dt="2024-06-18T07:49:26.331" v="8"/>
          <ac:spMkLst>
            <pc:docMk/>
            <pc:sldMk cId="4142636790" sldId="8769"/>
            <ac:spMk id="73" creationId="{680F2620-C65D-B02F-E7A7-4CED6DED8FBF}"/>
          </ac:spMkLst>
        </pc:spChg>
        <pc:spChg chg="add mod">
          <ac:chgData name="Ida Høst Poulsen" userId="2d088ed6-0a98-46db-a6ce-9daf67945352" providerId="ADAL" clId="{0B04E4D9-CF93-432F-8FB6-65B18EEAADFD}" dt="2024-06-18T07:49:26.331" v="8"/>
          <ac:spMkLst>
            <pc:docMk/>
            <pc:sldMk cId="4142636790" sldId="8769"/>
            <ac:spMk id="74" creationId="{690A0F54-5615-0771-A514-01475FB5922A}"/>
          </ac:spMkLst>
        </pc:spChg>
        <pc:spChg chg="add mod">
          <ac:chgData name="Ida Høst Poulsen" userId="2d088ed6-0a98-46db-a6ce-9daf67945352" providerId="ADAL" clId="{0B04E4D9-CF93-432F-8FB6-65B18EEAADFD}" dt="2024-06-18T07:49:26.331" v="8"/>
          <ac:spMkLst>
            <pc:docMk/>
            <pc:sldMk cId="4142636790" sldId="8769"/>
            <ac:spMk id="75" creationId="{56FB953D-18D9-12F7-E44D-BE4D3FE8CC9F}"/>
          </ac:spMkLst>
        </pc:spChg>
        <pc:spChg chg="add mod">
          <ac:chgData name="Ida Høst Poulsen" userId="2d088ed6-0a98-46db-a6ce-9daf67945352" providerId="ADAL" clId="{0B04E4D9-CF93-432F-8FB6-65B18EEAADFD}" dt="2024-06-18T07:49:26.331" v="8"/>
          <ac:spMkLst>
            <pc:docMk/>
            <pc:sldMk cId="4142636790" sldId="8769"/>
            <ac:spMk id="76" creationId="{D20F7004-12FB-2DA5-963B-36D0BE61E1F8}"/>
          </ac:spMkLst>
        </pc:spChg>
        <pc:spChg chg="add mod">
          <ac:chgData name="Ida Høst Poulsen" userId="2d088ed6-0a98-46db-a6ce-9daf67945352" providerId="ADAL" clId="{0B04E4D9-CF93-432F-8FB6-65B18EEAADFD}" dt="2024-06-18T07:49:26.331" v="8"/>
          <ac:spMkLst>
            <pc:docMk/>
            <pc:sldMk cId="4142636790" sldId="8769"/>
            <ac:spMk id="77" creationId="{93000F67-00B4-3331-F232-67B38BAF4713}"/>
          </ac:spMkLst>
        </pc:spChg>
        <pc:spChg chg="add mod">
          <ac:chgData name="Ida Høst Poulsen" userId="2d088ed6-0a98-46db-a6ce-9daf67945352" providerId="ADAL" clId="{0B04E4D9-CF93-432F-8FB6-65B18EEAADFD}" dt="2024-06-18T07:49:26.331" v="8"/>
          <ac:spMkLst>
            <pc:docMk/>
            <pc:sldMk cId="4142636790" sldId="8769"/>
            <ac:spMk id="78" creationId="{3B09C649-4617-7461-D1C4-C685E18B6027}"/>
          </ac:spMkLst>
        </pc:spChg>
        <pc:spChg chg="add mod">
          <ac:chgData name="Ida Høst Poulsen" userId="2d088ed6-0a98-46db-a6ce-9daf67945352" providerId="ADAL" clId="{0B04E4D9-CF93-432F-8FB6-65B18EEAADFD}" dt="2024-06-18T07:49:26.331" v="8"/>
          <ac:spMkLst>
            <pc:docMk/>
            <pc:sldMk cId="4142636790" sldId="8769"/>
            <ac:spMk id="79" creationId="{32E54D67-B7D9-EABD-F342-B5CDE8EF807B}"/>
          </ac:spMkLst>
        </pc:spChg>
        <pc:spChg chg="add mod">
          <ac:chgData name="Ida Høst Poulsen" userId="2d088ed6-0a98-46db-a6ce-9daf67945352" providerId="ADAL" clId="{0B04E4D9-CF93-432F-8FB6-65B18EEAADFD}" dt="2024-06-18T07:49:26.331" v="8"/>
          <ac:spMkLst>
            <pc:docMk/>
            <pc:sldMk cId="4142636790" sldId="8769"/>
            <ac:spMk id="80" creationId="{02D4826B-FC34-884F-3ECE-6B12DF5E94F3}"/>
          </ac:spMkLst>
        </pc:spChg>
        <pc:spChg chg="add mod">
          <ac:chgData name="Ida Høst Poulsen" userId="2d088ed6-0a98-46db-a6ce-9daf67945352" providerId="ADAL" clId="{0B04E4D9-CF93-432F-8FB6-65B18EEAADFD}" dt="2024-06-18T07:49:26.331" v="8"/>
          <ac:spMkLst>
            <pc:docMk/>
            <pc:sldMk cId="4142636790" sldId="8769"/>
            <ac:spMk id="81" creationId="{D32C85D5-41A2-B298-2525-13EAC9A338FF}"/>
          </ac:spMkLst>
        </pc:spChg>
        <pc:spChg chg="add mod">
          <ac:chgData name="Ida Høst Poulsen" userId="2d088ed6-0a98-46db-a6ce-9daf67945352" providerId="ADAL" clId="{0B04E4D9-CF93-432F-8FB6-65B18EEAADFD}" dt="2024-06-18T07:49:26.331" v="8"/>
          <ac:spMkLst>
            <pc:docMk/>
            <pc:sldMk cId="4142636790" sldId="8769"/>
            <ac:spMk id="82" creationId="{3F360A41-E9DC-B1C0-A779-7726759C1E0B}"/>
          </ac:spMkLst>
        </pc:spChg>
        <pc:spChg chg="add mod">
          <ac:chgData name="Ida Høst Poulsen" userId="2d088ed6-0a98-46db-a6ce-9daf67945352" providerId="ADAL" clId="{0B04E4D9-CF93-432F-8FB6-65B18EEAADFD}" dt="2024-06-18T07:49:26.331" v="8"/>
          <ac:spMkLst>
            <pc:docMk/>
            <pc:sldMk cId="4142636790" sldId="8769"/>
            <ac:spMk id="83" creationId="{C2D5A562-FAFC-8408-A025-D72E5E376863}"/>
          </ac:spMkLst>
        </pc:spChg>
        <pc:spChg chg="add mod">
          <ac:chgData name="Ida Høst Poulsen" userId="2d088ed6-0a98-46db-a6ce-9daf67945352" providerId="ADAL" clId="{0B04E4D9-CF93-432F-8FB6-65B18EEAADFD}" dt="2024-06-18T07:49:26.331" v="8"/>
          <ac:spMkLst>
            <pc:docMk/>
            <pc:sldMk cId="4142636790" sldId="8769"/>
            <ac:spMk id="84" creationId="{8144A50D-4303-DBDF-3477-75B1B6C8502C}"/>
          </ac:spMkLst>
        </pc:spChg>
        <pc:spChg chg="add mod">
          <ac:chgData name="Ida Høst Poulsen" userId="2d088ed6-0a98-46db-a6ce-9daf67945352" providerId="ADAL" clId="{0B04E4D9-CF93-432F-8FB6-65B18EEAADFD}" dt="2024-06-18T07:49:26.331" v="8"/>
          <ac:spMkLst>
            <pc:docMk/>
            <pc:sldMk cId="4142636790" sldId="8769"/>
            <ac:spMk id="85" creationId="{E9E211E7-2097-8E9D-14FC-AA577D265ECA}"/>
          </ac:spMkLst>
        </pc:spChg>
        <pc:spChg chg="add mod">
          <ac:chgData name="Ida Høst Poulsen" userId="2d088ed6-0a98-46db-a6ce-9daf67945352" providerId="ADAL" clId="{0B04E4D9-CF93-432F-8FB6-65B18EEAADFD}" dt="2024-06-18T07:49:26.331" v="8"/>
          <ac:spMkLst>
            <pc:docMk/>
            <pc:sldMk cId="4142636790" sldId="8769"/>
            <ac:spMk id="86" creationId="{59EF5397-57EF-6DF9-240F-AEFDE6B2816E}"/>
          </ac:spMkLst>
        </pc:spChg>
        <pc:spChg chg="add mod">
          <ac:chgData name="Ida Høst Poulsen" userId="2d088ed6-0a98-46db-a6ce-9daf67945352" providerId="ADAL" clId="{0B04E4D9-CF93-432F-8FB6-65B18EEAADFD}" dt="2024-06-18T07:49:26.331" v="8"/>
          <ac:spMkLst>
            <pc:docMk/>
            <pc:sldMk cId="4142636790" sldId="8769"/>
            <ac:spMk id="87" creationId="{2A24DA0C-34CC-3951-B256-D254BE98D1CF}"/>
          </ac:spMkLst>
        </pc:spChg>
        <pc:spChg chg="add mod">
          <ac:chgData name="Ida Høst Poulsen" userId="2d088ed6-0a98-46db-a6ce-9daf67945352" providerId="ADAL" clId="{0B04E4D9-CF93-432F-8FB6-65B18EEAADFD}" dt="2024-06-18T07:49:26.331" v="8"/>
          <ac:spMkLst>
            <pc:docMk/>
            <pc:sldMk cId="4142636790" sldId="8769"/>
            <ac:spMk id="88" creationId="{7CFB154F-0B5D-F560-E95A-EDF62D21D901}"/>
          </ac:spMkLst>
        </pc:spChg>
        <pc:spChg chg="add mod">
          <ac:chgData name="Ida Høst Poulsen" userId="2d088ed6-0a98-46db-a6ce-9daf67945352" providerId="ADAL" clId="{0B04E4D9-CF93-432F-8FB6-65B18EEAADFD}" dt="2024-06-18T07:49:26.331" v="8"/>
          <ac:spMkLst>
            <pc:docMk/>
            <pc:sldMk cId="4142636790" sldId="8769"/>
            <ac:spMk id="90" creationId="{3FCE8DCE-774A-C1DA-B134-5E5791FF00C7}"/>
          </ac:spMkLst>
        </pc:spChg>
        <pc:spChg chg="add mod">
          <ac:chgData name="Ida Høst Poulsen" userId="2d088ed6-0a98-46db-a6ce-9daf67945352" providerId="ADAL" clId="{0B04E4D9-CF93-432F-8FB6-65B18EEAADFD}" dt="2024-06-18T07:49:26.331" v="8"/>
          <ac:spMkLst>
            <pc:docMk/>
            <pc:sldMk cId="4142636790" sldId="8769"/>
            <ac:spMk id="91" creationId="{F7D91635-01C7-04C7-0562-6C75FCA33DEA}"/>
          </ac:spMkLst>
        </pc:spChg>
        <pc:spChg chg="add mod">
          <ac:chgData name="Ida Høst Poulsen" userId="2d088ed6-0a98-46db-a6ce-9daf67945352" providerId="ADAL" clId="{0B04E4D9-CF93-432F-8FB6-65B18EEAADFD}" dt="2024-06-18T07:49:26.331" v="8"/>
          <ac:spMkLst>
            <pc:docMk/>
            <pc:sldMk cId="4142636790" sldId="8769"/>
            <ac:spMk id="92" creationId="{5EA5CCB3-20CF-BE0A-86C2-52452C01F26A}"/>
          </ac:spMkLst>
        </pc:spChg>
        <pc:spChg chg="add mod">
          <ac:chgData name="Ida Høst Poulsen" userId="2d088ed6-0a98-46db-a6ce-9daf67945352" providerId="ADAL" clId="{0B04E4D9-CF93-432F-8FB6-65B18EEAADFD}" dt="2024-06-18T07:49:26.331" v="8"/>
          <ac:spMkLst>
            <pc:docMk/>
            <pc:sldMk cId="4142636790" sldId="8769"/>
            <ac:spMk id="93" creationId="{7591C11B-7D8B-A4C2-D0C7-0A4F18099E9C}"/>
          </ac:spMkLst>
        </pc:spChg>
        <pc:spChg chg="add mod">
          <ac:chgData name="Ida Høst Poulsen" userId="2d088ed6-0a98-46db-a6ce-9daf67945352" providerId="ADAL" clId="{0B04E4D9-CF93-432F-8FB6-65B18EEAADFD}" dt="2024-06-18T07:49:26.331" v="8"/>
          <ac:spMkLst>
            <pc:docMk/>
            <pc:sldMk cId="4142636790" sldId="8769"/>
            <ac:spMk id="94" creationId="{6CFD2353-F5EC-D1CF-E7DD-C011AB658344}"/>
          </ac:spMkLst>
        </pc:spChg>
        <pc:spChg chg="add mod">
          <ac:chgData name="Ida Høst Poulsen" userId="2d088ed6-0a98-46db-a6ce-9daf67945352" providerId="ADAL" clId="{0B04E4D9-CF93-432F-8FB6-65B18EEAADFD}" dt="2024-06-18T07:49:26.331" v="8"/>
          <ac:spMkLst>
            <pc:docMk/>
            <pc:sldMk cId="4142636790" sldId="8769"/>
            <ac:spMk id="95" creationId="{4CD4A94F-3C3A-9F10-E771-A399451E62C9}"/>
          </ac:spMkLst>
        </pc:spChg>
        <pc:spChg chg="add mod">
          <ac:chgData name="Ida Høst Poulsen" userId="2d088ed6-0a98-46db-a6ce-9daf67945352" providerId="ADAL" clId="{0B04E4D9-CF93-432F-8FB6-65B18EEAADFD}" dt="2024-06-18T07:49:26.331" v="8"/>
          <ac:spMkLst>
            <pc:docMk/>
            <pc:sldMk cId="4142636790" sldId="8769"/>
            <ac:spMk id="96" creationId="{4FCCA2AC-D549-381F-5FD1-27A718EA9E6F}"/>
          </ac:spMkLst>
        </pc:spChg>
        <pc:spChg chg="add mod">
          <ac:chgData name="Ida Høst Poulsen" userId="2d088ed6-0a98-46db-a6ce-9daf67945352" providerId="ADAL" clId="{0B04E4D9-CF93-432F-8FB6-65B18EEAADFD}" dt="2024-06-18T07:49:26.331" v="8"/>
          <ac:spMkLst>
            <pc:docMk/>
            <pc:sldMk cId="4142636790" sldId="8769"/>
            <ac:spMk id="97" creationId="{11F75435-6BC0-8D5B-56F1-8A58AF0A4A29}"/>
          </ac:spMkLst>
        </pc:spChg>
        <pc:spChg chg="add mod">
          <ac:chgData name="Ida Høst Poulsen" userId="2d088ed6-0a98-46db-a6ce-9daf67945352" providerId="ADAL" clId="{0B04E4D9-CF93-432F-8FB6-65B18EEAADFD}" dt="2024-06-18T07:49:26.331" v="8"/>
          <ac:spMkLst>
            <pc:docMk/>
            <pc:sldMk cId="4142636790" sldId="8769"/>
            <ac:spMk id="98" creationId="{9FFD97AA-D821-4FC9-2B08-1725D2457CE4}"/>
          </ac:spMkLst>
        </pc:spChg>
        <pc:spChg chg="add mod">
          <ac:chgData name="Ida Høst Poulsen" userId="2d088ed6-0a98-46db-a6ce-9daf67945352" providerId="ADAL" clId="{0B04E4D9-CF93-432F-8FB6-65B18EEAADFD}" dt="2024-06-18T07:49:26.331" v="8"/>
          <ac:spMkLst>
            <pc:docMk/>
            <pc:sldMk cId="4142636790" sldId="8769"/>
            <ac:spMk id="99" creationId="{F20C9F7B-64E0-357B-80A5-E8AECE2243E1}"/>
          </ac:spMkLst>
        </pc:spChg>
        <pc:spChg chg="add mod">
          <ac:chgData name="Ida Høst Poulsen" userId="2d088ed6-0a98-46db-a6ce-9daf67945352" providerId="ADAL" clId="{0B04E4D9-CF93-432F-8FB6-65B18EEAADFD}" dt="2024-06-18T07:51:34.705" v="13" actId="1076"/>
          <ac:spMkLst>
            <pc:docMk/>
            <pc:sldMk cId="4142636790" sldId="8769"/>
            <ac:spMk id="100" creationId="{AC0AE133-DBF2-B0ED-579B-DD3AE514FC8C}"/>
          </ac:spMkLst>
        </pc:spChg>
        <pc:spChg chg="add mod">
          <ac:chgData name="Ida Høst Poulsen" userId="2d088ed6-0a98-46db-a6ce-9daf67945352" providerId="ADAL" clId="{0B04E4D9-CF93-432F-8FB6-65B18EEAADFD}" dt="2024-06-18T07:50:44.047" v="11" actId="255"/>
          <ac:spMkLst>
            <pc:docMk/>
            <pc:sldMk cId="4142636790" sldId="8769"/>
            <ac:spMk id="101" creationId="{367BA927-B859-B695-93DA-C61A848E6DC5}"/>
          </ac:spMkLst>
        </pc:spChg>
        <pc:spChg chg="add mod">
          <ac:chgData name="Ida Høst Poulsen" userId="2d088ed6-0a98-46db-a6ce-9daf67945352" providerId="ADAL" clId="{0B04E4D9-CF93-432F-8FB6-65B18EEAADFD}" dt="2024-06-18T07:50:44.047" v="11" actId="255"/>
          <ac:spMkLst>
            <pc:docMk/>
            <pc:sldMk cId="4142636790" sldId="8769"/>
            <ac:spMk id="102" creationId="{6107E906-8335-65CB-A0A6-DDB3F50955B2}"/>
          </ac:spMkLst>
        </pc:spChg>
        <pc:spChg chg="add mod">
          <ac:chgData name="Ida Høst Poulsen" userId="2d088ed6-0a98-46db-a6ce-9daf67945352" providerId="ADAL" clId="{0B04E4D9-CF93-432F-8FB6-65B18EEAADFD}" dt="2024-06-18T07:50:44.047" v="11" actId="255"/>
          <ac:spMkLst>
            <pc:docMk/>
            <pc:sldMk cId="4142636790" sldId="8769"/>
            <ac:spMk id="103" creationId="{025C831B-99DA-2386-C177-7A9650295D0D}"/>
          </ac:spMkLst>
        </pc:spChg>
        <pc:spChg chg="add mod">
          <ac:chgData name="Ida Høst Poulsen" userId="2d088ed6-0a98-46db-a6ce-9daf67945352" providerId="ADAL" clId="{0B04E4D9-CF93-432F-8FB6-65B18EEAADFD}" dt="2024-06-18T07:50:44.047" v="11" actId="255"/>
          <ac:spMkLst>
            <pc:docMk/>
            <pc:sldMk cId="4142636790" sldId="8769"/>
            <ac:spMk id="104" creationId="{72674A13-8FC1-5B8C-3924-699BED0D2E39}"/>
          </ac:spMkLst>
        </pc:spChg>
        <pc:spChg chg="add mod">
          <ac:chgData name="Ida Høst Poulsen" userId="2d088ed6-0a98-46db-a6ce-9daf67945352" providerId="ADAL" clId="{0B04E4D9-CF93-432F-8FB6-65B18EEAADFD}" dt="2024-06-18T07:50:44.047" v="11" actId="255"/>
          <ac:spMkLst>
            <pc:docMk/>
            <pc:sldMk cId="4142636790" sldId="8769"/>
            <ac:spMk id="105" creationId="{79066C71-47F7-F8A5-C743-82F8D3F94675}"/>
          </ac:spMkLst>
        </pc:spChg>
        <pc:spChg chg="add mod">
          <ac:chgData name="Ida Høst Poulsen" userId="2d088ed6-0a98-46db-a6ce-9daf67945352" providerId="ADAL" clId="{0B04E4D9-CF93-432F-8FB6-65B18EEAADFD}" dt="2024-06-18T07:50:44.047" v="11" actId="255"/>
          <ac:spMkLst>
            <pc:docMk/>
            <pc:sldMk cId="4142636790" sldId="8769"/>
            <ac:spMk id="106" creationId="{379DB852-5F8D-1037-031C-A8BDF5B09F8E}"/>
          </ac:spMkLst>
        </pc:spChg>
        <pc:spChg chg="add mod">
          <ac:chgData name="Ida Høst Poulsen" userId="2d088ed6-0a98-46db-a6ce-9daf67945352" providerId="ADAL" clId="{0B04E4D9-CF93-432F-8FB6-65B18EEAADFD}" dt="2024-06-18T07:49:26.331" v="8"/>
          <ac:spMkLst>
            <pc:docMk/>
            <pc:sldMk cId="4142636790" sldId="8769"/>
            <ac:spMk id="107" creationId="{99B794CE-9B14-FE4D-9A7B-8142DE4AEA4D}"/>
          </ac:spMkLst>
        </pc:spChg>
        <pc:spChg chg="add mod">
          <ac:chgData name="Ida Høst Poulsen" userId="2d088ed6-0a98-46db-a6ce-9daf67945352" providerId="ADAL" clId="{0B04E4D9-CF93-432F-8FB6-65B18EEAADFD}" dt="2024-06-18T07:50:44.047" v="11" actId="255"/>
          <ac:spMkLst>
            <pc:docMk/>
            <pc:sldMk cId="4142636790" sldId="8769"/>
            <ac:spMk id="108" creationId="{2032ACE5-B20F-8BE6-AC1B-8306389DE238}"/>
          </ac:spMkLst>
        </pc:spChg>
        <pc:picChg chg="add mod">
          <ac:chgData name="Ida Høst Poulsen" userId="2d088ed6-0a98-46db-a6ce-9daf67945352" providerId="ADAL" clId="{0B04E4D9-CF93-432F-8FB6-65B18EEAADFD}" dt="2024-06-18T07:49:26.331" v="8"/>
          <ac:picMkLst>
            <pc:docMk/>
            <pc:sldMk cId="4142636790" sldId="8769"/>
            <ac:picMk id="109" creationId="{786A075E-9904-23CE-2989-F1F39B0426B9}"/>
          </ac:picMkLst>
        </pc:picChg>
        <pc:picChg chg="add mod">
          <ac:chgData name="Ida Høst Poulsen" userId="2d088ed6-0a98-46db-a6ce-9daf67945352" providerId="ADAL" clId="{0B04E4D9-CF93-432F-8FB6-65B18EEAADFD}" dt="2024-06-18T07:49:26.331" v="8"/>
          <ac:picMkLst>
            <pc:docMk/>
            <pc:sldMk cId="4142636790" sldId="8769"/>
            <ac:picMk id="110" creationId="{67681D60-95DA-F970-02C9-2732995DEC48}"/>
          </ac:picMkLst>
        </pc:picChg>
        <pc:picChg chg="add mod">
          <ac:chgData name="Ida Høst Poulsen" userId="2d088ed6-0a98-46db-a6ce-9daf67945352" providerId="ADAL" clId="{0B04E4D9-CF93-432F-8FB6-65B18EEAADFD}" dt="2024-06-18T07:49:26.331" v="8"/>
          <ac:picMkLst>
            <pc:docMk/>
            <pc:sldMk cId="4142636790" sldId="8769"/>
            <ac:picMk id="111" creationId="{291906F8-D144-34C9-F797-B3AC272B9C7E}"/>
          </ac:picMkLst>
        </pc:picChg>
        <pc:picChg chg="add mod">
          <ac:chgData name="Ida Høst Poulsen" userId="2d088ed6-0a98-46db-a6ce-9daf67945352" providerId="ADAL" clId="{0B04E4D9-CF93-432F-8FB6-65B18EEAADFD}" dt="2024-06-18T07:49:26.331" v="8"/>
          <ac:picMkLst>
            <pc:docMk/>
            <pc:sldMk cId="4142636790" sldId="8769"/>
            <ac:picMk id="112" creationId="{1BB3D9BA-5723-89CF-ED05-B546F159CB28}"/>
          </ac:picMkLst>
        </pc:picChg>
        <pc:picChg chg="add mod">
          <ac:chgData name="Ida Høst Poulsen" userId="2d088ed6-0a98-46db-a6ce-9daf67945352" providerId="ADAL" clId="{0B04E4D9-CF93-432F-8FB6-65B18EEAADFD}" dt="2024-06-18T07:49:26.331" v="8"/>
          <ac:picMkLst>
            <pc:docMk/>
            <pc:sldMk cId="4142636790" sldId="8769"/>
            <ac:picMk id="113" creationId="{B7048323-1835-140A-1915-1CD97CC37FD0}"/>
          </ac:picMkLst>
        </pc:picChg>
        <pc:picChg chg="add mod">
          <ac:chgData name="Ida Høst Poulsen" userId="2d088ed6-0a98-46db-a6ce-9daf67945352" providerId="ADAL" clId="{0B04E4D9-CF93-432F-8FB6-65B18EEAADFD}" dt="2024-06-18T07:49:26.331" v="8"/>
          <ac:picMkLst>
            <pc:docMk/>
            <pc:sldMk cId="4142636790" sldId="8769"/>
            <ac:picMk id="114" creationId="{3AA9B6A5-71C4-6B4D-B0DC-55ED34BF36DA}"/>
          </ac:picMkLst>
        </pc:picChg>
        <pc:picChg chg="add mod">
          <ac:chgData name="Ida Høst Poulsen" userId="2d088ed6-0a98-46db-a6ce-9daf67945352" providerId="ADAL" clId="{0B04E4D9-CF93-432F-8FB6-65B18EEAADFD}" dt="2024-06-18T07:49:26.331" v="8"/>
          <ac:picMkLst>
            <pc:docMk/>
            <pc:sldMk cId="4142636790" sldId="8769"/>
            <ac:picMk id="115" creationId="{EC2DBA0C-73EF-3B51-FA69-138350B34C8D}"/>
          </ac:picMkLst>
        </pc:picChg>
        <pc:cxnChg chg="add mod">
          <ac:chgData name="Ida Høst Poulsen" userId="2d088ed6-0a98-46db-a6ce-9daf67945352" providerId="ADAL" clId="{0B04E4D9-CF93-432F-8FB6-65B18EEAADFD}" dt="2024-06-18T07:49:26.331" v="8"/>
          <ac:cxnSpMkLst>
            <pc:docMk/>
            <pc:sldMk cId="4142636790" sldId="8769"/>
            <ac:cxnSpMk id="4" creationId="{83CA7AC5-366E-03CC-9FE0-224D22DDF317}"/>
          </ac:cxnSpMkLst>
        </pc:cxnChg>
        <pc:cxnChg chg="add mod">
          <ac:chgData name="Ida Høst Poulsen" userId="2d088ed6-0a98-46db-a6ce-9daf67945352" providerId="ADAL" clId="{0B04E4D9-CF93-432F-8FB6-65B18EEAADFD}" dt="2024-06-18T07:49:26.331" v="8"/>
          <ac:cxnSpMkLst>
            <pc:docMk/>
            <pc:sldMk cId="4142636790" sldId="8769"/>
            <ac:cxnSpMk id="6" creationId="{9703DBD4-DE97-C197-C7E9-7472DB505D95}"/>
          </ac:cxnSpMkLst>
        </pc:cxnChg>
        <pc:cxnChg chg="add mod">
          <ac:chgData name="Ida Høst Poulsen" userId="2d088ed6-0a98-46db-a6ce-9daf67945352" providerId="ADAL" clId="{0B04E4D9-CF93-432F-8FB6-65B18EEAADFD}" dt="2024-06-18T07:49:26.331" v="8"/>
          <ac:cxnSpMkLst>
            <pc:docMk/>
            <pc:sldMk cId="4142636790" sldId="8769"/>
            <ac:cxnSpMk id="7" creationId="{0D245C3C-C133-5648-4221-DCE905DEF356}"/>
          </ac:cxnSpMkLst>
        </pc:cxnChg>
        <pc:cxnChg chg="add mod">
          <ac:chgData name="Ida Høst Poulsen" userId="2d088ed6-0a98-46db-a6ce-9daf67945352" providerId="ADAL" clId="{0B04E4D9-CF93-432F-8FB6-65B18EEAADFD}" dt="2024-06-18T07:49:26.331" v="8"/>
          <ac:cxnSpMkLst>
            <pc:docMk/>
            <pc:sldMk cId="4142636790" sldId="8769"/>
            <ac:cxnSpMk id="8" creationId="{B8E7A926-20CE-E589-73C1-D2F482F62155}"/>
          </ac:cxnSpMkLst>
        </pc:cxnChg>
        <pc:cxnChg chg="add mod">
          <ac:chgData name="Ida Høst Poulsen" userId="2d088ed6-0a98-46db-a6ce-9daf67945352" providerId="ADAL" clId="{0B04E4D9-CF93-432F-8FB6-65B18EEAADFD}" dt="2024-06-18T07:49:26.331" v="8"/>
          <ac:cxnSpMkLst>
            <pc:docMk/>
            <pc:sldMk cId="4142636790" sldId="8769"/>
            <ac:cxnSpMk id="9" creationId="{948441D8-96BC-1B3B-A833-4C978470478E}"/>
          </ac:cxnSpMkLst>
        </pc:cxnChg>
        <pc:cxnChg chg="add mod">
          <ac:chgData name="Ida Høst Poulsen" userId="2d088ed6-0a98-46db-a6ce-9daf67945352" providerId="ADAL" clId="{0B04E4D9-CF93-432F-8FB6-65B18EEAADFD}" dt="2024-06-18T07:49:26.331" v="8"/>
          <ac:cxnSpMkLst>
            <pc:docMk/>
            <pc:sldMk cId="4142636790" sldId="8769"/>
            <ac:cxnSpMk id="89" creationId="{C88ACD33-8772-7464-9A19-D8E1FFCF861C}"/>
          </ac:cxnSpMkLst>
        </pc:cxnChg>
        <pc:cxnChg chg="add mod">
          <ac:chgData name="Ida Høst Poulsen" userId="2d088ed6-0a98-46db-a6ce-9daf67945352" providerId="ADAL" clId="{0B04E4D9-CF93-432F-8FB6-65B18EEAADFD}" dt="2024-06-18T07:49:26.331" v="8"/>
          <ac:cxnSpMkLst>
            <pc:docMk/>
            <pc:sldMk cId="4142636790" sldId="8769"/>
            <ac:cxnSpMk id="116" creationId="{5DFABB09-275A-EA75-DA65-527F04D88B69}"/>
          </ac:cxnSpMkLst>
        </pc:cxnChg>
      </pc:sldChg>
      <pc:sldChg chg="del">
        <pc:chgData name="Ida Høst Poulsen" userId="2d088ed6-0a98-46db-a6ce-9daf67945352" providerId="ADAL" clId="{0B04E4D9-CF93-432F-8FB6-65B18EEAADFD}" dt="2024-06-18T07:47:47.546" v="4" actId="2696"/>
        <pc:sldMkLst>
          <pc:docMk/>
          <pc:sldMk cId="2691124968" sldId="877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A942B987-EC31-4746-B4E6-062CD7AA3A1A}" type="datetime1">
              <a:rPr lang="en-GB" smtClean="0"/>
              <a:t>20/06/2024</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rtl="0">
              <a:defRPr sz="1200"/>
            </a:lvl1pPr>
          </a:lstStyle>
          <a:p>
            <a:fld id="{1B1D025B-ACD2-45C1-B156-1DDB470CE319}" type="slidenum">
              <a:rPr lang="da-DK" smtClean="0"/>
              <a:pPr/>
              <a:t>‹#›</a:t>
            </a:fld>
            <a:endParaRPr lang="da-DK"/>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66909" y="4777195"/>
            <a:ext cx="5335270" cy="3908614"/>
          </a:xfrm>
          <a:prstGeom prst="rect">
            <a:avLst/>
          </a:prstGeom>
        </p:spPr>
        <p:txBody>
          <a:bodyPr vert="horz" lIns="91440" tIns="45720" rIns="91440" bIns="45720" rtlCol="0"/>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777607" y="0"/>
            <a:ext cx="2889938" cy="498056"/>
          </a:xfrm>
          <a:prstGeom prst="rect">
            <a:avLst/>
          </a:prstGeom>
        </p:spPr>
        <p:txBody>
          <a:bodyPr vert="horz" lIns="91440" tIns="45720" rIns="91440" bIns="45720" rtlCol="0"/>
          <a:lstStyle>
            <a:lvl1pPr algn="r" rtl="0">
              <a:defRPr sz="1200"/>
            </a:lvl1pPr>
          </a:lstStyle>
          <a:p>
            <a:fld id="{D325BBF7-0B0C-48D4-ABAA-EF360EF241C5}" type="datetime1">
              <a:rPr lang="da-DK" smtClean="0"/>
              <a:pPr/>
              <a:t>20-06-2024</a:t>
            </a:fld>
            <a:endParaRPr lang="da-DK"/>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rtl="0">
              <a:defRPr sz="1200"/>
            </a:lvl1pPr>
          </a:lstStyle>
          <a:p>
            <a:endParaRPr lang="da-DK"/>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357188" y="1239838"/>
            <a:ext cx="5954712" cy="3351212"/>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rtl="0">
              <a:defRPr sz="1200"/>
            </a:lvl1pPr>
          </a:lstStyle>
          <a:p>
            <a:endParaRPr lang="da-DK"/>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736760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567225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1698837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1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18273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972690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609622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5</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691680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6</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4095001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9484635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8</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407673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9</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4027839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10</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0-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8270294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2.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8.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111.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1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2.emf"/></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2.emf"/></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2.emf"/></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55.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D48E49-C548-4C40-B4E5-416753470B56}"/>
              </a:ext>
            </a:extLst>
          </p:cNvPr>
          <p:cNvGraphicFramePr>
            <a:graphicFrameLocks noChangeAspect="1"/>
          </p:cNvGraphicFramePr>
          <p:nvPr userDrawn="1">
            <p:custDataLst>
              <p:tags r:id="rId1"/>
            </p:custDataLst>
            <p:extLst>
              <p:ext uri="{D42A27DB-BD31-4B8C-83A1-F6EECF244321}">
                <p14:modId xmlns:p14="http://schemas.microsoft.com/office/powerpoint/2010/main" val="177338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6D48E49-C548-4C40-B4E5-416753470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rgbClr val="E6E6E6"/>
        </a:solidFill>
        <a:effectLst/>
      </p:bgPr>
    </p:bg>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A100C677-B418-4EDF-ABC6-CE08CDC695FD}"/>
              </a:ext>
            </a:extLst>
          </p:cNvPr>
          <p:cNvGraphicFramePr>
            <a:graphicFrameLocks noChangeAspect="1"/>
          </p:cNvGraphicFramePr>
          <p:nvPr userDrawn="1">
            <p:custDataLst>
              <p:tags r:id="rId1"/>
            </p:custDataLst>
            <p:extLst>
              <p:ext uri="{D42A27DB-BD31-4B8C-83A1-F6EECF244321}">
                <p14:modId xmlns:p14="http://schemas.microsoft.com/office/powerpoint/2010/main" val="1439516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8" name="Object 67" hidden="1">
                        <a:extLst>
                          <a:ext uri="{FF2B5EF4-FFF2-40B4-BE49-F238E27FC236}">
                            <a16:creationId xmlns:a16="http://schemas.microsoft.com/office/drawing/2014/main" id="{A100C677-B418-4EDF-ABC6-CE08CDC69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oogle Shape;437;p8">
            <a:extLst>
              <a:ext uri="{FF2B5EF4-FFF2-40B4-BE49-F238E27FC236}">
                <a16:creationId xmlns:a16="http://schemas.microsoft.com/office/drawing/2014/main" id="{DFA3D236-3486-4F19-A7C5-E133BD55CE1C}"/>
              </a:ext>
            </a:extLst>
          </p:cNvPr>
          <p:cNvGrpSpPr/>
          <p:nvPr userDrawn="1"/>
        </p:nvGrpSpPr>
        <p:grpSpPr>
          <a:xfrm>
            <a:off x="-85616" y="5833206"/>
            <a:ext cx="12363231" cy="1214388"/>
            <a:chOff x="-45603" y="440026"/>
            <a:chExt cx="9272423" cy="910791"/>
          </a:xfrm>
        </p:grpSpPr>
        <p:sp>
          <p:nvSpPr>
            <p:cNvPr id="8" name="Google Shape;438;p8">
              <a:extLst>
                <a:ext uri="{FF2B5EF4-FFF2-40B4-BE49-F238E27FC236}">
                  <a16:creationId xmlns:a16="http://schemas.microsoft.com/office/drawing/2014/main" id="{52DDEDDC-15D2-4E4C-901E-42E502E2A8B1}"/>
                </a:ext>
              </a:extLst>
            </p:cNvPr>
            <p:cNvSpPr/>
            <p:nvPr/>
          </p:nvSpPr>
          <p:spPr>
            <a:xfrm>
              <a:off x="2176354" y="708034"/>
              <a:ext cx="281779" cy="397462"/>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 name="Google Shape;439;p8">
              <a:extLst>
                <a:ext uri="{FF2B5EF4-FFF2-40B4-BE49-F238E27FC236}">
                  <a16:creationId xmlns:a16="http://schemas.microsoft.com/office/drawing/2014/main" id="{CA5C13E6-5A09-4E57-8AA5-E627EC086C2F}"/>
                </a:ext>
              </a:extLst>
            </p:cNvPr>
            <p:cNvSpPr/>
            <p:nvPr/>
          </p:nvSpPr>
          <p:spPr>
            <a:xfrm>
              <a:off x="552323" y="912340"/>
              <a:ext cx="339086" cy="309912"/>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0" name="Google Shape;440;p8">
              <a:extLst>
                <a:ext uri="{FF2B5EF4-FFF2-40B4-BE49-F238E27FC236}">
                  <a16:creationId xmlns:a16="http://schemas.microsoft.com/office/drawing/2014/main" id="{DAF7605A-6C97-4A29-A6C4-D0BCB41B7E04}"/>
                </a:ext>
              </a:extLst>
            </p:cNvPr>
            <p:cNvSpPr/>
            <p:nvPr/>
          </p:nvSpPr>
          <p:spPr>
            <a:xfrm rot="-2700000">
              <a:off x="4913658" y="470447"/>
              <a:ext cx="181249" cy="400170"/>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 name="Google Shape;441;p8">
              <a:extLst>
                <a:ext uri="{FF2B5EF4-FFF2-40B4-BE49-F238E27FC236}">
                  <a16:creationId xmlns:a16="http://schemas.microsoft.com/office/drawing/2014/main" id="{95F694D8-E89D-4F85-B965-6ABB0FD294C9}"/>
                </a:ext>
              </a:extLst>
            </p:cNvPr>
            <p:cNvSpPr/>
            <p:nvPr/>
          </p:nvSpPr>
          <p:spPr>
            <a:xfrm rot="-1967309">
              <a:off x="27613" y="549243"/>
              <a:ext cx="142154" cy="312221"/>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 name="Google Shape;442;p8">
              <a:extLst>
                <a:ext uri="{FF2B5EF4-FFF2-40B4-BE49-F238E27FC236}">
                  <a16:creationId xmlns:a16="http://schemas.microsoft.com/office/drawing/2014/main" id="{42F9A808-20E2-4D0D-BC85-EA2AD4EE89EA}"/>
                </a:ext>
              </a:extLst>
            </p:cNvPr>
            <p:cNvSpPr/>
            <p:nvPr/>
          </p:nvSpPr>
          <p:spPr>
            <a:xfrm>
              <a:off x="6508977" y="1054156"/>
              <a:ext cx="212880" cy="143991"/>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3" name="Google Shape;443;p8">
              <a:extLst>
                <a:ext uri="{FF2B5EF4-FFF2-40B4-BE49-F238E27FC236}">
                  <a16:creationId xmlns:a16="http://schemas.microsoft.com/office/drawing/2014/main" id="{0172F219-15C9-4DE3-85DB-880E95DE5D8E}"/>
                </a:ext>
              </a:extLst>
            </p:cNvPr>
            <p:cNvSpPr/>
            <p:nvPr/>
          </p:nvSpPr>
          <p:spPr>
            <a:xfrm>
              <a:off x="4683118" y="1001445"/>
              <a:ext cx="272854" cy="185024"/>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4" name="Google Shape;444;p8">
              <a:extLst>
                <a:ext uri="{FF2B5EF4-FFF2-40B4-BE49-F238E27FC236}">
                  <a16:creationId xmlns:a16="http://schemas.microsoft.com/office/drawing/2014/main" id="{59F8DCF2-19C0-4EC9-AB80-F9304608F1A7}"/>
                </a:ext>
              </a:extLst>
            </p:cNvPr>
            <p:cNvSpPr/>
            <p:nvPr/>
          </p:nvSpPr>
          <p:spPr>
            <a:xfrm rot="3663599">
              <a:off x="5966469" y="976075"/>
              <a:ext cx="204754" cy="377157"/>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5" name="Google Shape;445;p8">
              <a:extLst>
                <a:ext uri="{FF2B5EF4-FFF2-40B4-BE49-F238E27FC236}">
                  <a16:creationId xmlns:a16="http://schemas.microsoft.com/office/drawing/2014/main" id="{B918CB4E-9A2D-4280-B8D6-EAE731751A45}"/>
                </a:ext>
              </a:extLst>
            </p:cNvPr>
            <p:cNvSpPr/>
            <p:nvPr/>
          </p:nvSpPr>
          <p:spPr>
            <a:xfrm rot="-3368760">
              <a:off x="5437768" y="638636"/>
              <a:ext cx="351278" cy="93987"/>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6" name="Google Shape;446;p8">
              <a:extLst>
                <a:ext uri="{FF2B5EF4-FFF2-40B4-BE49-F238E27FC236}">
                  <a16:creationId xmlns:a16="http://schemas.microsoft.com/office/drawing/2014/main" id="{37435EF2-1CCA-4464-9F09-3ECBC1399B9C}"/>
                </a:ext>
              </a:extLst>
            </p:cNvPr>
            <p:cNvSpPr/>
            <p:nvPr/>
          </p:nvSpPr>
          <p:spPr>
            <a:xfrm rot="3013936">
              <a:off x="1856192" y="906044"/>
              <a:ext cx="112704" cy="289910"/>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7" name="Google Shape;447;p8">
              <a:extLst>
                <a:ext uri="{FF2B5EF4-FFF2-40B4-BE49-F238E27FC236}">
                  <a16:creationId xmlns:a16="http://schemas.microsoft.com/office/drawing/2014/main" id="{F7A74B35-E181-4700-99FD-FFD1E7C070B6}"/>
                </a:ext>
              </a:extLst>
            </p:cNvPr>
            <p:cNvSpPr/>
            <p:nvPr/>
          </p:nvSpPr>
          <p:spPr>
            <a:xfrm rot="2198047">
              <a:off x="3510054" y="793341"/>
              <a:ext cx="140231" cy="36705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8" name="Google Shape;448;p8">
              <a:extLst>
                <a:ext uri="{FF2B5EF4-FFF2-40B4-BE49-F238E27FC236}">
                  <a16:creationId xmlns:a16="http://schemas.microsoft.com/office/drawing/2014/main" id="{062EB108-DA8F-4CAA-A021-2FB10C1EC4F1}"/>
                </a:ext>
              </a:extLst>
            </p:cNvPr>
            <p:cNvSpPr/>
            <p:nvPr/>
          </p:nvSpPr>
          <p:spPr>
            <a:xfrm rot="9906392">
              <a:off x="7295836" y="1033664"/>
              <a:ext cx="191420" cy="182909"/>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9" name="Google Shape;449;p8">
              <a:extLst>
                <a:ext uri="{FF2B5EF4-FFF2-40B4-BE49-F238E27FC236}">
                  <a16:creationId xmlns:a16="http://schemas.microsoft.com/office/drawing/2014/main" id="{73D1FC50-BAC9-4E63-B3C2-BC7032F81AAD}"/>
                </a:ext>
              </a:extLst>
            </p:cNvPr>
            <p:cNvSpPr/>
            <p:nvPr/>
          </p:nvSpPr>
          <p:spPr>
            <a:xfrm>
              <a:off x="301831" y="611168"/>
              <a:ext cx="314135" cy="349552"/>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0" name="Google Shape;450;p8">
              <a:extLst>
                <a:ext uri="{FF2B5EF4-FFF2-40B4-BE49-F238E27FC236}">
                  <a16:creationId xmlns:a16="http://schemas.microsoft.com/office/drawing/2014/main" id="{5F9B7FB3-35F4-4CBE-A09C-F66F590CFFE8}"/>
                </a:ext>
              </a:extLst>
            </p:cNvPr>
            <p:cNvSpPr/>
            <p:nvPr/>
          </p:nvSpPr>
          <p:spPr>
            <a:xfrm>
              <a:off x="5200465" y="821938"/>
              <a:ext cx="313748" cy="356086"/>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1" name="Google Shape;451;p8">
              <a:extLst>
                <a:ext uri="{FF2B5EF4-FFF2-40B4-BE49-F238E27FC236}">
                  <a16:creationId xmlns:a16="http://schemas.microsoft.com/office/drawing/2014/main" id="{D916FBB6-384D-4771-8641-58BD9CD17907}"/>
                </a:ext>
              </a:extLst>
            </p:cNvPr>
            <p:cNvSpPr/>
            <p:nvPr/>
          </p:nvSpPr>
          <p:spPr>
            <a:xfrm rot="-988374">
              <a:off x="8793699" y="981136"/>
              <a:ext cx="395858" cy="320125"/>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2" name="Google Shape;452;p8">
              <a:extLst>
                <a:ext uri="{FF2B5EF4-FFF2-40B4-BE49-F238E27FC236}">
                  <a16:creationId xmlns:a16="http://schemas.microsoft.com/office/drawing/2014/main" id="{71BF65B1-EDAE-48BD-9611-9B3FAF80BFC6}"/>
                </a:ext>
              </a:extLst>
            </p:cNvPr>
            <p:cNvSpPr/>
            <p:nvPr/>
          </p:nvSpPr>
          <p:spPr>
            <a:xfrm rot="1179229">
              <a:off x="6978602" y="547675"/>
              <a:ext cx="347146" cy="378286"/>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3" name="Google Shape;453;p8">
              <a:extLst>
                <a:ext uri="{FF2B5EF4-FFF2-40B4-BE49-F238E27FC236}">
                  <a16:creationId xmlns:a16="http://schemas.microsoft.com/office/drawing/2014/main" id="{9BA01FEA-2993-4024-825B-1DB626CB98BB}"/>
                </a:ext>
              </a:extLst>
            </p:cNvPr>
            <p:cNvSpPr/>
            <p:nvPr/>
          </p:nvSpPr>
          <p:spPr>
            <a:xfrm>
              <a:off x="980841" y="910413"/>
              <a:ext cx="326644" cy="367792"/>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4" name="Google Shape;454;p8">
              <a:extLst>
                <a:ext uri="{FF2B5EF4-FFF2-40B4-BE49-F238E27FC236}">
                  <a16:creationId xmlns:a16="http://schemas.microsoft.com/office/drawing/2014/main" id="{99AD2AE6-9050-4889-82F2-C1419125FF29}"/>
                </a:ext>
              </a:extLst>
            </p:cNvPr>
            <p:cNvSpPr/>
            <p:nvPr/>
          </p:nvSpPr>
          <p:spPr>
            <a:xfrm>
              <a:off x="8699186" y="523462"/>
              <a:ext cx="403969" cy="323646"/>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5" name="Google Shape;455;p8">
              <a:extLst>
                <a:ext uri="{FF2B5EF4-FFF2-40B4-BE49-F238E27FC236}">
                  <a16:creationId xmlns:a16="http://schemas.microsoft.com/office/drawing/2014/main" id="{C57713A8-CEA2-47F3-BD43-6ADEB3FE868B}"/>
                </a:ext>
              </a:extLst>
            </p:cNvPr>
            <p:cNvSpPr/>
            <p:nvPr/>
          </p:nvSpPr>
          <p:spPr>
            <a:xfrm>
              <a:off x="6870722" y="1009504"/>
              <a:ext cx="256151" cy="229019"/>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6" name="Google Shape;456;p8">
              <a:extLst>
                <a:ext uri="{FF2B5EF4-FFF2-40B4-BE49-F238E27FC236}">
                  <a16:creationId xmlns:a16="http://schemas.microsoft.com/office/drawing/2014/main" id="{7E90AF16-2D94-4AA6-8F4F-BA951107600C}"/>
                </a:ext>
              </a:extLst>
            </p:cNvPr>
            <p:cNvSpPr/>
            <p:nvPr/>
          </p:nvSpPr>
          <p:spPr>
            <a:xfrm rot="-2424567">
              <a:off x="1204048" y="475241"/>
              <a:ext cx="211213" cy="278694"/>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7" name="Google Shape;457;p8">
              <a:extLst>
                <a:ext uri="{FF2B5EF4-FFF2-40B4-BE49-F238E27FC236}">
                  <a16:creationId xmlns:a16="http://schemas.microsoft.com/office/drawing/2014/main" id="{C9486BE3-4E3B-4C58-A77A-744CDAC1B7B6}"/>
                </a:ext>
              </a:extLst>
            </p:cNvPr>
            <p:cNvSpPr/>
            <p:nvPr/>
          </p:nvSpPr>
          <p:spPr>
            <a:xfrm>
              <a:off x="7556769" y="607048"/>
              <a:ext cx="402022" cy="236475"/>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28" name="Google Shape;458;p8">
              <a:extLst>
                <a:ext uri="{FF2B5EF4-FFF2-40B4-BE49-F238E27FC236}">
                  <a16:creationId xmlns:a16="http://schemas.microsoft.com/office/drawing/2014/main" id="{3C6F0935-C1C0-463D-A543-D7A18AF418BF}"/>
                </a:ext>
              </a:extLst>
            </p:cNvPr>
            <p:cNvGrpSpPr/>
            <p:nvPr/>
          </p:nvGrpSpPr>
          <p:grpSpPr>
            <a:xfrm rot="890855">
              <a:off x="3181660" y="515636"/>
              <a:ext cx="370663" cy="217580"/>
              <a:chOff x="1429156" y="1387535"/>
              <a:chExt cx="657769" cy="386112"/>
            </a:xfrm>
          </p:grpSpPr>
          <p:sp>
            <p:nvSpPr>
              <p:cNvPr id="65" name="Google Shape;459;p8">
                <a:extLst>
                  <a:ext uri="{FF2B5EF4-FFF2-40B4-BE49-F238E27FC236}">
                    <a16:creationId xmlns:a16="http://schemas.microsoft.com/office/drawing/2014/main" id="{398577B8-887D-49A3-BAB5-913FE53A8C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6" name="Google Shape;460;p8">
                <a:extLst>
                  <a:ext uri="{FF2B5EF4-FFF2-40B4-BE49-F238E27FC236}">
                    <a16:creationId xmlns:a16="http://schemas.microsoft.com/office/drawing/2014/main" id="{EFA2CCDF-E88F-49CB-8522-55A21ECFC218}"/>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9" name="Google Shape;461;p8">
              <a:extLst>
                <a:ext uri="{FF2B5EF4-FFF2-40B4-BE49-F238E27FC236}">
                  <a16:creationId xmlns:a16="http://schemas.microsoft.com/office/drawing/2014/main" id="{B70BC019-5B58-4937-8117-6773BDC0F1EF}"/>
                </a:ext>
              </a:extLst>
            </p:cNvPr>
            <p:cNvSpPr/>
            <p:nvPr/>
          </p:nvSpPr>
          <p:spPr>
            <a:xfrm rot="-2499483">
              <a:off x="4165391" y="919169"/>
              <a:ext cx="428994" cy="113072"/>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0" name="Google Shape;462;p8">
              <a:extLst>
                <a:ext uri="{FF2B5EF4-FFF2-40B4-BE49-F238E27FC236}">
                  <a16:creationId xmlns:a16="http://schemas.microsoft.com/office/drawing/2014/main" id="{037CE266-13C0-448C-A563-1454B36CFBA4}"/>
                </a:ext>
              </a:extLst>
            </p:cNvPr>
            <p:cNvSpPr/>
            <p:nvPr/>
          </p:nvSpPr>
          <p:spPr>
            <a:xfrm>
              <a:off x="674582" y="523294"/>
              <a:ext cx="375105" cy="294447"/>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1" name="Google Shape;463;p8">
              <a:extLst>
                <a:ext uri="{FF2B5EF4-FFF2-40B4-BE49-F238E27FC236}">
                  <a16:creationId xmlns:a16="http://schemas.microsoft.com/office/drawing/2014/main" id="{27EDFF7F-5034-4BC9-BE8B-3E6D7C6197BC}"/>
                </a:ext>
              </a:extLst>
            </p:cNvPr>
            <p:cNvGrpSpPr/>
            <p:nvPr/>
          </p:nvGrpSpPr>
          <p:grpSpPr>
            <a:xfrm>
              <a:off x="3707787" y="505390"/>
              <a:ext cx="212392" cy="256778"/>
              <a:chOff x="1010452" y="1144365"/>
              <a:chExt cx="376916" cy="455685"/>
            </a:xfrm>
          </p:grpSpPr>
          <p:sp>
            <p:nvSpPr>
              <p:cNvPr id="63" name="Google Shape;464;p8">
                <a:extLst>
                  <a:ext uri="{FF2B5EF4-FFF2-40B4-BE49-F238E27FC236}">
                    <a16:creationId xmlns:a16="http://schemas.microsoft.com/office/drawing/2014/main" id="{2FFF5DD8-0F93-4F46-AD24-11024FDF3236}"/>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4" name="Google Shape;465;p8">
                <a:extLst>
                  <a:ext uri="{FF2B5EF4-FFF2-40B4-BE49-F238E27FC236}">
                    <a16:creationId xmlns:a16="http://schemas.microsoft.com/office/drawing/2014/main" id="{747E638D-D925-4CD5-BA8E-12E806D795E9}"/>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2" name="Google Shape;466;p8">
              <a:extLst>
                <a:ext uri="{FF2B5EF4-FFF2-40B4-BE49-F238E27FC236}">
                  <a16:creationId xmlns:a16="http://schemas.microsoft.com/office/drawing/2014/main" id="{4DFA9240-E771-4987-974F-DCEF5FC6723C}"/>
                </a:ext>
              </a:extLst>
            </p:cNvPr>
            <p:cNvSpPr/>
            <p:nvPr/>
          </p:nvSpPr>
          <p:spPr>
            <a:xfrm rot="-1100489">
              <a:off x="8420309" y="672386"/>
              <a:ext cx="223722" cy="226855"/>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3" name="Google Shape;467;p8">
              <a:extLst>
                <a:ext uri="{FF2B5EF4-FFF2-40B4-BE49-F238E27FC236}">
                  <a16:creationId xmlns:a16="http://schemas.microsoft.com/office/drawing/2014/main" id="{5FE706DA-1126-4F4C-8BBA-DC7AC43A2500}"/>
                </a:ext>
              </a:extLst>
            </p:cNvPr>
            <p:cNvSpPr/>
            <p:nvPr/>
          </p:nvSpPr>
          <p:spPr>
            <a:xfrm>
              <a:off x="3572521" y="981550"/>
              <a:ext cx="255529" cy="288428"/>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4" name="Google Shape;468;p8">
              <a:extLst>
                <a:ext uri="{FF2B5EF4-FFF2-40B4-BE49-F238E27FC236}">
                  <a16:creationId xmlns:a16="http://schemas.microsoft.com/office/drawing/2014/main" id="{663F8069-EBEA-4D62-B798-7843177FF1CB}"/>
                </a:ext>
              </a:extLst>
            </p:cNvPr>
            <p:cNvSpPr/>
            <p:nvPr/>
          </p:nvSpPr>
          <p:spPr>
            <a:xfrm rot="1800079">
              <a:off x="8229930" y="1002016"/>
              <a:ext cx="198020" cy="248076"/>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5" name="Google Shape;469;p8">
              <a:extLst>
                <a:ext uri="{FF2B5EF4-FFF2-40B4-BE49-F238E27FC236}">
                  <a16:creationId xmlns:a16="http://schemas.microsoft.com/office/drawing/2014/main" id="{6D8D561E-D592-4F4A-A43C-EC6417F3F195}"/>
                </a:ext>
              </a:extLst>
            </p:cNvPr>
            <p:cNvSpPr/>
            <p:nvPr/>
          </p:nvSpPr>
          <p:spPr>
            <a:xfrm>
              <a:off x="3943429" y="927518"/>
              <a:ext cx="163399" cy="25729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6" name="Google Shape;470;p8">
              <a:extLst>
                <a:ext uri="{FF2B5EF4-FFF2-40B4-BE49-F238E27FC236}">
                  <a16:creationId xmlns:a16="http://schemas.microsoft.com/office/drawing/2014/main" id="{A2209A31-DFA2-4D5E-AC37-61A897B80BA2}"/>
                </a:ext>
              </a:extLst>
            </p:cNvPr>
            <p:cNvSpPr/>
            <p:nvPr/>
          </p:nvSpPr>
          <p:spPr>
            <a:xfrm>
              <a:off x="4038156" y="505004"/>
              <a:ext cx="340006" cy="361563"/>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7" name="Google Shape;471;p8">
              <a:extLst>
                <a:ext uri="{FF2B5EF4-FFF2-40B4-BE49-F238E27FC236}">
                  <a16:creationId xmlns:a16="http://schemas.microsoft.com/office/drawing/2014/main" id="{5129EA7F-C30F-425A-947A-D527198CD2FD}"/>
                </a:ext>
              </a:extLst>
            </p:cNvPr>
            <p:cNvSpPr/>
            <p:nvPr/>
          </p:nvSpPr>
          <p:spPr>
            <a:xfrm>
              <a:off x="2854633" y="688547"/>
              <a:ext cx="416637" cy="25970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8" name="Google Shape;472;p8">
              <a:extLst>
                <a:ext uri="{FF2B5EF4-FFF2-40B4-BE49-F238E27FC236}">
                  <a16:creationId xmlns:a16="http://schemas.microsoft.com/office/drawing/2014/main" id="{5881CFEE-ADE8-48E5-AB7C-68CB9039AA11}"/>
                </a:ext>
              </a:extLst>
            </p:cNvPr>
            <p:cNvSpPr/>
            <p:nvPr/>
          </p:nvSpPr>
          <p:spPr>
            <a:xfrm rot="-1252057">
              <a:off x="6497159" y="534061"/>
              <a:ext cx="204722" cy="302187"/>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9" name="Google Shape;473;p8">
              <a:extLst>
                <a:ext uri="{FF2B5EF4-FFF2-40B4-BE49-F238E27FC236}">
                  <a16:creationId xmlns:a16="http://schemas.microsoft.com/office/drawing/2014/main" id="{69E898E1-6FA4-4718-AFF7-3DC996848B50}"/>
                </a:ext>
              </a:extLst>
            </p:cNvPr>
            <p:cNvSpPr/>
            <p:nvPr/>
          </p:nvSpPr>
          <p:spPr>
            <a:xfrm>
              <a:off x="2537776" y="539860"/>
              <a:ext cx="230803" cy="290180"/>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0" name="Google Shape;474;p8">
              <a:extLst>
                <a:ext uri="{FF2B5EF4-FFF2-40B4-BE49-F238E27FC236}">
                  <a16:creationId xmlns:a16="http://schemas.microsoft.com/office/drawing/2014/main" id="{F154A736-934B-41BD-A76B-8E0C52C1AE46}"/>
                </a:ext>
              </a:extLst>
            </p:cNvPr>
            <p:cNvSpPr/>
            <p:nvPr/>
          </p:nvSpPr>
          <p:spPr>
            <a:xfrm>
              <a:off x="5713194" y="743996"/>
              <a:ext cx="256984" cy="24403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1" name="Google Shape;475;p8">
              <a:extLst>
                <a:ext uri="{FF2B5EF4-FFF2-40B4-BE49-F238E27FC236}">
                  <a16:creationId xmlns:a16="http://schemas.microsoft.com/office/drawing/2014/main" id="{C3AC04FE-8671-498F-828D-203CBC0BB635}"/>
                </a:ext>
              </a:extLst>
            </p:cNvPr>
            <p:cNvSpPr/>
            <p:nvPr/>
          </p:nvSpPr>
          <p:spPr>
            <a:xfrm>
              <a:off x="2507283" y="945803"/>
              <a:ext cx="99390" cy="211075"/>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2" name="Google Shape;476;p8">
              <a:extLst>
                <a:ext uri="{FF2B5EF4-FFF2-40B4-BE49-F238E27FC236}">
                  <a16:creationId xmlns:a16="http://schemas.microsoft.com/office/drawing/2014/main" id="{63F18C92-17B7-43A5-A68C-C450B779DADC}"/>
                </a:ext>
              </a:extLst>
            </p:cNvPr>
            <p:cNvSpPr/>
            <p:nvPr/>
          </p:nvSpPr>
          <p:spPr>
            <a:xfrm>
              <a:off x="8045390" y="829868"/>
              <a:ext cx="135793" cy="114511"/>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3" name="Google Shape;477;p8">
              <a:extLst>
                <a:ext uri="{FF2B5EF4-FFF2-40B4-BE49-F238E27FC236}">
                  <a16:creationId xmlns:a16="http://schemas.microsoft.com/office/drawing/2014/main" id="{417EB980-32D0-4DC4-A6C4-7E6D846EC924}"/>
                </a:ext>
              </a:extLst>
            </p:cNvPr>
            <p:cNvSpPr/>
            <p:nvPr/>
          </p:nvSpPr>
          <p:spPr>
            <a:xfrm>
              <a:off x="5019180" y="1018026"/>
              <a:ext cx="99190" cy="9853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4" name="Google Shape;478;p8">
              <a:extLst>
                <a:ext uri="{FF2B5EF4-FFF2-40B4-BE49-F238E27FC236}">
                  <a16:creationId xmlns:a16="http://schemas.microsoft.com/office/drawing/2014/main" id="{381163EF-7629-4CFF-B559-9851352F5ACF}"/>
                </a:ext>
              </a:extLst>
            </p:cNvPr>
            <p:cNvSpPr/>
            <p:nvPr/>
          </p:nvSpPr>
          <p:spPr>
            <a:xfrm rot="9301126">
              <a:off x="6297718" y="732778"/>
              <a:ext cx="123698" cy="266216"/>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5" name="Google Shape;479;p8">
              <a:extLst>
                <a:ext uri="{FF2B5EF4-FFF2-40B4-BE49-F238E27FC236}">
                  <a16:creationId xmlns:a16="http://schemas.microsoft.com/office/drawing/2014/main" id="{0F50E663-39E1-4AD0-93A3-1908DAE033F1}"/>
                </a:ext>
              </a:extLst>
            </p:cNvPr>
            <p:cNvSpPr/>
            <p:nvPr/>
          </p:nvSpPr>
          <p:spPr>
            <a:xfrm>
              <a:off x="1756780" y="575182"/>
              <a:ext cx="134585" cy="137354"/>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6" name="Google Shape;480;p8">
              <a:extLst>
                <a:ext uri="{FF2B5EF4-FFF2-40B4-BE49-F238E27FC236}">
                  <a16:creationId xmlns:a16="http://schemas.microsoft.com/office/drawing/2014/main" id="{71494E0A-A727-4295-A68E-7B51FCE149E5}"/>
                </a:ext>
              </a:extLst>
            </p:cNvPr>
            <p:cNvSpPr/>
            <p:nvPr/>
          </p:nvSpPr>
          <p:spPr>
            <a:xfrm>
              <a:off x="4716478" y="737980"/>
              <a:ext cx="145419" cy="160635"/>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7" name="Google Shape;481;p8">
              <a:extLst>
                <a:ext uri="{FF2B5EF4-FFF2-40B4-BE49-F238E27FC236}">
                  <a16:creationId xmlns:a16="http://schemas.microsoft.com/office/drawing/2014/main" id="{631DB046-E1DA-46FF-B77D-914F220E12DF}"/>
                </a:ext>
              </a:extLst>
            </p:cNvPr>
            <p:cNvSpPr/>
            <p:nvPr/>
          </p:nvSpPr>
          <p:spPr>
            <a:xfrm>
              <a:off x="1639378" y="819333"/>
              <a:ext cx="126045" cy="135687"/>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8" name="Google Shape;482;p8">
              <a:extLst>
                <a:ext uri="{FF2B5EF4-FFF2-40B4-BE49-F238E27FC236}">
                  <a16:creationId xmlns:a16="http://schemas.microsoft.com/office/drawing/2014/main" id="{6C3F2E69-7F19-4BB4-9196-BC1986750B11}"/>
                </a:ext>
              </a:extLst>
            </p:cNvPr>
            <p:cNvSpPr/>
            <p:nvPr/>
          </p:nvSpPr>
          <p:spPr>
            <a:xfrm>
              <a:off x="8172573" y="555140"/>
              <a:ext cx="115263" cy="15729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9" name="Google Shape;483;p8">
              <a:extLst>
                <a:ext uri="{FF2B5EF4-FFF2-40B4-BE49-F238E27FC236}">
                  <a16:creationId xmlns:a16="http://schemas.microsoft.com/office/drawing/2014/main" id="{9B2453D0-FA03-4643-84F5-9E3C91A5CBC8}"/>
                </a:ext>
              </a:extLst>
            </p:cNvPr>
            <p:cNvSpPr/>
            <p:nvPr/>
          </p:nvSpPr>
          <p:spPr>
            <a:xfrm>
              <a:off x="4481735" y="547509"/>
              <a:ext cx="87093" cy="153839"/>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0" name="Google Shape;484;p8">
              <a:extLst>
                <a:ext uri="{FF2B5EF4-FFF2-40B4-BE49-F238E27FC236}">
                  <a16:creationId xmlns:a16="http://schemas.microsoft.com/office/drawing/2014/main" id="{9807AEC3-39CD-4D14-B42A-CD3D9393FE2E}"/>
                </a:ext>
              </a:extLst>
            </p:cNvPr>
            <p:cNvSpPr/>
            <p:nvPr/>
          </p:nvSpPr>
          <p:spPr>
            <a:xfrm>
              <a:off x="2048182" y="505004"/>
              <a:ext cx="126077" cy="173483"/>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1" name="Google Shape;485;p8">
              <a:extLst>
                <a:ext uri="{FF2B5EF4-FFF2-40B4-BE49-F238E27FC236}">
                  <a16:creationId xmlns:a16="http://schemas.microsoft.com/office/drawing/2014/main" id="{796D8525-F78B-4E8E-B835-32B685225339}"/>
                </a:ext>
              </a:extLst>
            </p:cNvPr>
            <p:cNvSpPr/>
            <p:nvPr/>
          </p:nvSpPr>
          <p:spPr>
            <a:xfrm>
              <a:off x="126658" y="1006747"/>
              <a:ext cx="126356" cy="163706"/>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2" name="Google Shape;486;p8">
              <a:extLst>
                <a:ext uri="{FF2B5EF4-FFF2-40B4-BE49-F238E27FC236}">
                  <a16:creationId xmlns:a16="http://schemas.microsoft.com/office/drawing/2014/main" id="{1ED48132-0E3B-4C9F-8080-7B4FB0379E28}"/>
                </a:ext>
              </a:extLst>
            </p:cNvPr>
            <p:cNvGrpSpPr/>
            <p:nvPr/>
          </p:nvGrpSpPr>
          <p:grpSpPr>
            <a:xfrm>
              <a:off x="7836651" y="987182"/>
              <a:ext cx="121750" cy="155749"/>
              <a:chOff x="6422295" y="3351500"/>
              <a:chExt cx="252856" cy="323399"/>
            </a:xfrm>
          </p:grpSpPr>
          <p:sp>
            <p:nvSpPr>
              <p:cNvPr id="61" name="Google Shape;487;p8">
                <a:extLst>
                  <a:ext uri="{FF2B5EF4-FFF2-40B4-BE49-F238E27FC236}">
                    <a16:creationId xmlns:a16="http://schemas.microsoft.com/office/drawing/2014/main" id="{865D144E-115E-4C0F-858B-7AD446047D5F}"/>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2" name="Google Shape;488;p8">
                <a:extLst>
                  <a:ext uri="{FF2B5EF4-FFF2-40B4-BE49-F238E27FC236}">
                    <a16:creationId xmlns:a16="http://schemas.microsoft.com/office/drawing/2014/main" id="{FBDD473D-941E-49C0-95D2-5368D36472F6}"/>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3" name="Google Shape;489;p8">
              <a:extLst>
                <a:ext uri="{FF2B5EF4-FFF2-40B4-BE49-F238E27FC236}">
                  <a16:creationId xmlns:a16="http://schemas.microsoft.com/office/drawing/2014/main" id="{2CFDE35F-9C93-41AA-AF39-B673BE122D10}"/>
                </a:ext>
              </a:extLst>
            </p:cNvPr>
            <p:cNvSpPr/>
            <p:nvPr/>
          </p:nvSpPr>
          <p:spPr>
            <a:xfrm>
              <a:off x="1353734" y="881315"/>
              <a:ext cx="187420" cy="190001"/>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4" name="Google Shape;490;p8">
              <a:extLst>
                <a:ext uri="{FF2B5EF4-FFF2-40B4-BE49-F238E27FC236}">
                  <a16:creationId xmlns:a16="http://schemas.microsoft.com/office/drawing/2014/main" id="{205D0610-BF1E-4924-B2BC-5F952001F3CA}"/>
                </a:ext>
              </a:extLst>
            </p:cNvPr>
            <p:cNvSpPr/>
            <p:nvPr/>
          </p:nvSpPr>
          <p:spPr>
            <a:xfrm>
              <a:off x="6088369" y="586056"/>
              <a:ext cx="149720" cy="115699"/>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5" name="Google Shape;491;p8">
              <a:extLst>
                <a:ext uri="{FF2B5EF4-FFF2-40B4-BE49-F238E27FC236}">
                  <a16:creationId xmlns:a16="http://schemas.microsoft.com/office/drawing/2014/main" id="{644799B6-39C4-4EDA-90F6-B1BA328AF112}"/>
                </a:ext>
              </a:extLst>
            </p:cNvPr>
            <p:cNvGrpSpPr/>
            <p:nvPr/>
          </p:nvGrpSpPr>
          <p:grpSpPr>
            <a:xfrm>
              <a:off x="3137402" y="1006079"/>
              <a:ext cx="129429" cy="165162"/>
              <a:chOff x="6793660" y="3322411"/>
              <a:chExt cx="268804" cy="342944"/>
            </a:xfrm>
          </p:grpSpPr>
          <p:sp>
            <p:nvSpPr>
              <p:cNvPr id="58" name="Google Shape;492;p8">
                <a:extLst>
                  <a:ext uri="{FF2B5EF4-FFF2-40B4-BE49-F238E27FC236}">
                    <a16:creationId xmlns:a16="http://schemas.microsoft.com/office/drawing/2014/main" id="{DA90D220-A61A-410A-82F9-F4435DFF17D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9" name="Google Shape;493;p8">
                <a:extLst>
                  <a:ext uri="{FF2B5EF4-FFF2-40B4-BE49-F238E27FC236}">
                    <a16:creationId xmlns:a16="http://schemas.microsoft.com/office/drawing/2014/main" id="{9207D843-5CE4-4D01-AACF-727765A8CE11}"/>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0" name="Google Shape;494;p8">
                <a:extLst>
                  <a:ext uri="{FF2B5EF4-FFF2-40B4-BE49-F238E27FC236}">
                    <a16:creationId xmlns:a16="http://schemas.microsoft.com/office/drawing/2014/main" id="{3B7AA49C-B52E-45C3-B4F0-5DB3CE9ACE95}"/>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6" name="Google Shape;495;p8">
              <a:extLst>
                <a:ext uri="{FF2B5EF4-FFF2-40B4-BE49-F238E27FC236}">
                  <a16:creationId xmlns:a16="http://schemas.microsoft.com/office/drawing/2014/main" id="{6F723D16-9CA1-4043-8ACE-CDD24A84CAAE}"/>
                </a:ext>
              </a:extLst>
            </p:cNvPr>
            <p:cNvSpPr/>
            <p:nvPr/>
          </p:nvSpPr>
          <p:spPr>
            <a:xfrm>
              <a:off x="2776508" y="1006744"/>
              <a:ext cx="212021" cy="115156"/>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7" name="Google Shape;496;p8">
              <a:extLst>
                <a:ext uri="{FF2B5EF4-FFF2-40B4-BE49-F238E27FC236}">
                  <a16:creationId xmlns:a16="http://schemas.microsoft.com/office/drawing/2014/main" id="{C4E55DC9-07C5-4BD4-87D7-ECDF770DF217}"/>
                </a:ext>
              </a:extLst>
            </p:cNvPr>
            <p:cNvSpPr/>
            <p:nvPr/>
          </p:nvSpPr>
          <p:spPr>
            <a:xfrm rot="1466637">
              <a:off x="5246242" y="579297"/>
              <a:ext cx="132710" cy="129208"/>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B53CDE-9890-4DBB-BE92-8111C65D2AE8}"/>
              </a:ext>
            </a:extLst>
          </p:cNvPr>
          <p:cNvGraphicFramePr>
            <a:graphicFrameLocks noChangeAspect="1"/>
          </p:cNvGraphicFramePr>
          <p:nvPr userDrawn="1">
            <p:custDataLst>
              <p:tags r:id="rId1"/>
            </p:custDataLst>
            <p:extLst>
              <p:ext uri="{D42A27DB-BD31-4B8C-83A1-F6EECF244321}">
                <p14:modId xmlns:p14="http://schemas.microsoft.com/office/powerpoint/2010/main" val="1767268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BB53CDE-9890-4DBB-BE92-8111C65D2A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20-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85830897"/>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66A539-0101-4A82-B9C3-F577CEB05A9E}"/>
              </a:ext>
            </a:extLst>
          </p:cNvPr>
          <p:cNvGraphicFramePr>
            <a:graphicFrameLocks noChangeAspect="1"/>
          </p:cNvGraphicFramePr>
          <p:nvPr userDrawn="1">
            <p:custDataLst>
              <p:tags r:id="rId1"/>
            </p:custDataLst>
            <p:extLst>
              <p:ext uri="{D42A27DB-BD31-4B8C-83A1-F6EECF244321}">
                <p14:modId xmlns:p14="http://schemas.microsoft.com/office/powerpoint/2010/main" val="110371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166A539-0101-4A82-B9C3-F577CEB05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20-06-2024</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Tree>
    <p:extLst>
      <p:ext uri="{BB962C8B-B14F-4D97-AF65-F5344CB8AC3E}">
        <p14:creationId xmlns:p14="http://schemas.microsoft.com/office/powerpoint/2010/main" val="135973420"/>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A44A42-9A21-496B-8550-E0C5720EF5BA}"/>
              </a:ext>
            </a:extLst>
          </p:cNvPr>
          <p:cNvGraphicFramePr>
            <a:graphicFrameLocks noChangeAspect="1"/>
          </p:cNvGraphicFramePr>
          <p:nvPr userDrawn="1">
            <p:custDataLst>
              <p:tags r:id="rId1"/>
            </p:custDataLst>
            <p:extLst>
              <p:ext uri="{D42A27DB-BD31-4B8C-83A1-F6EECF244321}">
                <p14:modId xmlns:p14="http://schemas.microsoft.com/office/powerpoint/2010/main" val="223937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C5A44A42-9A21-496B-8550-E0C5720EF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20-06-2024</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9429470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DF22F3-2934-407B-B386-5E19FC8C9F3E}"/>
              </a:ext>
            </a:extLst>
          </p:cNvPr>
          <p:cNvGraphicFramePr>
            <a:graphicFrameLocks noChangeAspect="1"/>
          </p:cNvGraphicFramePr>
          <p:nvPr userDrawn="1">
            <p:custDataLst>
              <p:tags r:id="rId1"/>
            </p:custDataLst>
            <p:extLst>
              <p:ext uri="{D42A27DB-BD31-4B8C-83A1-F6EECF244321}">
                <p14:modId xmlns:p14="http://schemas.microsoft.com/office/powerpoint/2010/main" val="113910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9DF22F3-2934-407B-B386-5E19FC8C9F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20-06-2024</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015500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B59735-DCF7-4C85-B703-F0D90F8EA2BD}"/>
              </a:ext>
            </a:extLst>
          </p:cNvPr>
          <p:cNvGraphicFramePr>
            <a:graphicFrameLocks noChangeAspect="1"/>
          </p:cNvGraphicFramePr>
          <p:nvPr userDrawn="1">
            <p:custDataLst>
              <p:tags r:id="rId1"/>
            </p:custDataLst>
            <p:extLst>
              <p:ext uri="{D42A27DB-BD31-4B8C-83A1-F6EECF244321}">
                <p14:modId xmlns:p14="http://schemas.microsoft.com/office/powerpoint/2010/main" val="391361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FB59735-DCF7-4C85-B703-F0D90F8EA2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20-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799866313"/>
      </p:ext>
    </p:extLst>
  </p:cSld>
  <p:clrMapOvr>
    <a:overrideClrMapping bg1="dk1" tx1="lt1" bg2="dk2"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00ADF0-CFE3-4E1E-A6F1-50578BEF7A5A}"/>
              </a:ext>
            </a:extLst>
          </p:cNvPr>
          <p:cNvGraphicFramePr>
            <a:graphicFrameLocks noChangeAspect="1"/>
          </p:cNvGraphicFramePr>
          <p:nvPr userDrawn="1">
            <p:custDataLst>
              <p:tags r:id="rId1"/>
            </p:custDataLst>
            <p:extLst>
              <p:ext uri="{D42A27DB-BD31-4B8C-83A1-F6EECF244321}">
                <p14:modId xmlns:p14="http://schemas.microsoft.com/office/powerpoint/2010/main" val="51873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8B00ADF0-CFE3-4E1E-A6F1-50578BEF7A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20-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209672871"/>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05142B-6D8F-49A5-8C11-B0866A0D6D5F}"/>
              </a:ext>
            </a:extLst>
          </p:cNvPr>
          <p:cNvGraphicFramePr>
            <a:graphicFrameLocks noChangeAspect="1"/>
          </p:cNvGraphicFramePr>
          <p:nvPr userDrawn="1">
            <p:custDataLst>
              <p:tags r:id="rId1"/>
            </p:custDataLst>
            <p:extLst>
              <p:ext uri="{D42A27DB-BD31-4B8C-83A1-F6EECF244321}">
                <p14:modId xmlns:p14="http://schemas.microsoft.com/office/powerpoint/2010/main" val="101371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705142B-6D8F-49A5-8C11-B0866A0D6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20-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464205823"/>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EFBFFD-CEF3-49D8-9E2C-F36F01EA735A}"/>
              </a:ext>
            </a:extLst>
          </p:cNvPr>
          <p:cNvGraphicFramePr>
            <a:graphicFrameLocks noChangeAspect="1"/>
          </p:cNvGraphicFramePr>
          <p:nvPr userDrawn="1">
            <p:custDataLst>
              <p:tags r:id="rId1"/>
            </p:custDataLst>
            <p:extLst>
              <p:ext uri="{D42A27DB-BD31-4B8C-83A1-F6EECF244321}">
                <p14:modId xmlns:p14="http://schemas.microsoft.com/office/powerpoint/2010/main" val="130829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FEFBFFD-CEF3-49D8-9E2C-F36F01EA73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20-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468074775"/>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C198CB-AAA7-4F5B-A35F-DE9960E6AC38}"/>
              </a:ext>
            </a:extLst>
          </p:cNvPr>
          <p:cNvGraphicFramePr>
            <a:graphicFrameLocks noChangeAspect="1"/>
          </p:cNvGraphicFramePr>
          <p:nvPr userDrawn="1">
            <p:custDataLst>
              <p:tags r:id="rId1"/>
            </p:custDataLst>
            <p:extLst>
              <p:ext uri="{D42A27DB-BD31-4B8C-83A1-F6EECF244321}">
                <p14:modId xmlns:p14="http://schemas.microsoft.com/office/powerpoint/2010/main" val="130531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F2C198CB-AAA7-4F5B-A35F-DE9960E6AC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20-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101826671"/>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CADD21-FA21-4BEC-9BE4-76FA96D63047}"/>
              </a:ext>
            </a:extLst>
          </p:cNvPr>
          <p:cNvGraphicFramePr>
            <a:graphicFrameLocks noChangeAspect="1"/>
          </p:cNvGraphicFramePr>
          <p:nvPr userDrawn="1">
            <p:custDataLst>
              <p:tags r:id="rId1"/>
            </p:custDataLst>
            <p:extLst>
              <p:ext uri="{D42A27DB-BD31-4B8C-83A1-F6EECF244321}">
                <p14:modId xmlns:p14="http://schemas.microsoft.com/office/powerpoint/2010/main" val="13704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C3CADD21-FA21-4BEC-9BE4-76FA96D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20-06-2024</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64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CB6B6B-24B0-44AB-9048-2F686A564E91}"/>
              </a:ext>
            </a:extLst>
          </p:cNvPr>
          <p:cNvGraphicFramePr>
            <a:graphicFrameLocks noChangeAspect="1"/>
          </p:cNvGraphicFramePr>
          <p:nvPr userDrawn="1">
            <p:custDataLst>
              <p:tags r:id="rId1"/>
            </p:custDataLst>
            <p:extLst>
              <p:ext uri="{D42A27DB-BD31-4B8C-83A1-F6EECF244321}">
                <p14:modId xmlns:p14="http://schemas.microsoft.com/office/powerpoint/2010/main" val="95707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FCB6B6B-24B0-44AB-9048-2F686A564E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20-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BB3B6D-DD31-4C13-AD80-04ABEA8E27A0}"/>
              </a:ext>
            </a:extLst>
          </p:cNvPr>
          <p:cNvGraphicFramePr>
            <a:graphicFrameLocks noChangeAspect="1"/>
          </p:cNvGraphicFramePr>
          <p:nvPr userDrawn="1">
            <p:custDataLst>
              <p:tags r:id="rId1"/>
            </p:custDataLst>
            <p:extLst>
              <p:ext uri="{D42A27DB-BD31-4B8C-83A1-F6EECF244321}">
                <p14:modId xmlns:p14="http://schemas.microsoft.com/office/powerpoint/2010/main" val="332558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6EBB3B6D-DD31-4C13-AD80-04ABEA8E2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20-06-2024</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165976985"/>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8" name="FLD_PresentationTitle">
            <a:extLst>
              <a:ext uri="{FF2B5EF4-FFF2-40B4-BE49-F238E27FC236}">
                <a16:creationId xmlns:a16="http://schemas.microsoft.com/office/drawing/2014/main" id="{B1DAA5DF-5AA7-49EC-ACBF-10E8A1971277}"/>
              </a:ext>
            </a:extLst>
          </p:cNvPr>
          <p:cNvSpPr>
            <a:spLocks noGrp="1"/>
          </p:cNvSpPr>
          <p:nvPr>
            <p:ph type="ctrTitle" hasCustomPrompt="1"/>
          </p:nvPr>
        </p:nvSpPr>
        <p:spPr>
          <a:xfrm>
            <a:off x="798617" y="409475"/>
            <a:ext cx="9774384" cy="681390"/>
          </a:xfrm>
        </p:spPr>
        <p:txBody>
          <a:bodyPr tIns="0" anchor="t" anchorCtr="0"/>
          <a:lstStyle>
            <a:lvl1pPr>
              <a:defRPr sz="1539" cap="all" spc="-48" baseline="0" smtClean="0">
                <a:solidFill>
                  <a:schemeClr val="tx1"/>
                </a:solidFill>
                <a:latin typeface="Verdana" pitchFamily="34" charset="0"/>
              </a:defRPr>
            </a:lvl1pPr>
          </a:lstStyle>
          <a:p>
            <a:r>
              <a:rPr lang="en-GB" noProof="0"/>
              <a:t>Headline</a:t>
            </a:r>
          </a:p>
        </p:txBody>
      </p:sp>
      <p:sp>
        <p:nvSpPr>
          <p:cNvPr id="19" name="FLD_PresentationTitle_2">
            <a:extLst>
              <a:ext uri="{FF2B5EF4-FFF2-40B4-BE49-F238E27FC236}">
                <a16:creationId xmlns:a16="http://schemas.microsoft.com/office/drawing/2014/main" id="{5B27253C-39D7-4448-BD0F-A9FC3677BCBD}"/>
              </a:ext>
            </a:extLst>
          </p:cNvPr>
          <p:cNvSpPr>
            <a:spLocks noGrp="1" noChangeArrowheads="1"/>
          </p:cNvSpPr>
          <p:nvPr>
            <p:ph type="subTitle" sz="quarter" idx="1" hasCustomPrompt="1"/>
          </p:nvPr>
        </p:nvSpPr>
        <p:spPr>
          <a:xfrm>
            <a:off x="798616" y="1139481"/>
            <a:ext cx="9773924" cy="1254271"/>
          </a:xfrm>
        </p:spPr>
        <p:txBody>
          <a:bodyPr lIns="0"/>
          <a:lstStyle>
            <a:lvl1pPr marL="0" indent="0">
              <a:lnSpc>
                <a:spcPct val="100000"/>
              </a:lnSpc>
              <a:spcAft>
                <a:spcPts val="0"/>
              </a:spcAft>
              <a:buFontTx/>
              <a:buNone/>
              <a:defRPr sz="1539" b="1" cap="all" spc="-48" baseline="0" smtClean="0">
                <a:solidFill>
                  <a:schemeClr val="tx2"/>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lvl1pPr>
          </a:lstStyle>
          <a:p>
            <a:pPr lvl="0"/>
            <a:r>
              <a:rPr lang="en-GB"/>
              <a:t>Subtitle</a:t>
            </a:r>
          </a:p>
        </p:txBody>
      </p:sp>
      <p:sp>
        <p:nvSpPr>
          <p:cNvPr id="9" name="Slide Number Placeholder 5"/>
          <p:cNvSpPr>
            <a:spLocks noGrp="1"/>
          </p:cNvSpPr>
          <p:nvPr>
            <p:ph type="sldNum" sz="quarter" idx="4"/>
          </p:nvPr>
        </p:nvSpPr>
        <p:spPr>
          <a:xfrm>
            <a:off x="10908620" y="6283328"/>
            <a:ext cx="480001" cy="155575"/>
          </a:xfrm>
          <a:prstGeom prst="rect">
            <a:avLst/>
          </a:prstGeom>
        </p:spPr>
        <p:txBody>
          <a:bodyPr vert="horz" wrap="square" lIns="0" tIns="0" rIns="0" bIns="0" numCol="1" anchor="ctr" anchorCtr="0" compatLnSpc="1">
            <a:prstTxWarp prst="textNoShape">
              <a:avLst/>
            </a:prstTxWarp>
          </a:bodyPr>
          <a:lstStyle>
            <a:lvl1pPr algn="r">
              <a:defRPr sz="257">
                <a:solidFill>
                  <a:schemeClr val="tx1"/>
                </a:solidFill>
              </a:defRPr>
            </a:lvl1pPr>
          </a:lstStyle>
          <a:p>
            <a:fld id="{31421AFA-3AE7-4CEA-BC9B-447859BED57B}" type="slidenum">
              <a:rPr lang="en-GB" smtClean="0"/>
              <a:pPr/>
              <a:t>‹#›</a:t>
            </a:fld>
            <a:endParaRPr lang="en-GB"/>
          </a:p>
        </p:txBody>
      </p:sp>
      <p:sp>
        <p:nvSpPr>
          <p:cNvPr id="11" name="Footer Placeholder 4">
            <a:extLst>
              <a:ext uri="{FF2B5EF4-FFF2-40B4-BE49-F238E27FC236}">
                <a16:creationId xmlns:a16="http://schemas.microsoft.com/office/drawing/2014/main" id="{FC6EA742-E999-426B-9F1C-33524D47AEA4}"/>
              </a:ext>
            </a:extLst>
          </p:cNvPr>
          <p:cNvSpPr>
            <a:spLocks noGrp="1"/>
          </p:cNvSpPr>
          <p:nvPr>
            <p:ph type="ftr" sz="quarter" idx="3"/>
          </p:nvPr>
        </p:nvSpPr>
        <p:spPr>
          <a:xfrm>
            <a:off x="4056591" y="6280502"/>
            <a:ext cx="6515949"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2" name="Date_DateCustomA">
            <a:extLst>
              <a:ext uri="{FF2B5EF4-FFF2-40B4-BE49-F238E27FC236}">
                <a16:creationId xmlns:a16="http://schemas.microsoft.com/office/drawing/2014/main" id="{09BA1C59-AB8D-4ACE-A4C9-3A97AB0B83E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13F78D9-42B8-43DD-B9D4-11FA41011F45}" type="datetime1">
              <a:rPr lang="en-GB" smtClean="0"/>
              <a:t>20/06/2024</a:t>
            </a:fld>
            <a:endParaRPr lang="en-GB"/>
          </a:p>
        </p:txBody>
      </p:sp>
      <p:grpSp>
        <p:nvGrpSpPr>
          <p:cNvPr id="13" name="Group 12">
            <a:extLst>
              <a:ext uri="{FF2B5EF4-FFF2-40B4-BE49-F238E27FC236}">
                <a16:creationId xmlns:a16="http://schemas.microsoft.com/office/drawing/2014/main" id="{8CA71D2E-512F-4EB0-AAF9-E4FEBA858101}"/>
              </a:ext>
            </a:extLst>
          </p:cNvPr>
          <p:cNvGrpSpPr/>
          <p:nvPr userDrawn="1"/>
        </p:nvGrpSpPr>
        <p:grpSpPr>
          <a:xfrm>
            <a:off x="-1972350" y="1633992"/>
            <a:ext cx="1797025" cy="2906915"/>
            <a:chOff x="-1899137" y="-1"/>
            <a:chExt cx="1796791" cy="2907588"/>
          </a:xfrm>
        </p:grpSpPr>
        <p:grpSp>
          <p:nvGrpSpPr>
            <p:cNvPr id="14" name="Group 13">
              <a:extLst>
                <a:ext uri="{FF2B5EF4-FFF2-40B4-BE49-F238E27FC236}">
                  <a16:creationId xmlns:a16="http://schemas.microsoft.com/office/drawing/2014/main" id="{8404ACBE-98F7-42FA-B2C4-2BDACC351B5F}"/>
                </a:ext>
              </a:extLst>
            </p:cNvPr>
            <p:cNvGrpSpPr/>
            <p:nvPr userDrawn="1"/>
          </p:nvGrpSpPr>
          <p:grpSpPr>
            <a:xfrm>
              <a:off x="-1899137" y="-1"/>
              <a:ext cx="1796791" cy="2907588"/>
              <a:chOff x="9009867" y="1645032"/>
              <a:chExt cx="2365739" cy="3828268"/>
            </a:xfrm>
          </p:grpSpPr>
          <p:pic>
            <p:nvPicPr>
              <p:cNvPr id="16" name="Picture 15">
                <a:extLst>
                  <a:ext uri="{FF2B5EF4-FFF2-40B4-BE49-F238E27FC236}">
                    <a16:creationId xmlns:a16="http://schemas.microsoft.com/office/drawing/2014/main" id="{7674FC44-6BF9-46ED-9900-58E4FF056204}"/>
                  </a:ext>
                </a:extLst>
              </p:cNvPr>
              <p:cNvPicPr>
                <a:picLocks noChangeAspect="1"/>
              </p:cNvPicPr>
              <p:nvPr/>
            </p:nvPicPr>
            <p:blipFill>
              <a:blip r:embed="rId2"/>
              <a:stretch>
                <a:fillRect/>
              </a:stretch>
            </p:blipFill>
            <p:spPr>
              <a:xfrm>
                <a:off x="9182748" y="1852126"/>
                <a:ext cx="599367" cy="280555"/>
              </a:xfrm>
              <a:prstGeom prst="rect">
                <a:avLst/>
              </a:prstGeom>
            </p:spPr>
          </p:pic>
          <p:sp>
            <p:nvSpPr>
              <p:cNvPr id="17" name="TextBox 16">
                <a:extLst>
                  <a:ext uri="{FF2B5EF4-FFF2-40B4-BE49-F238E27FC236}">
                    <a16:creationId xmlns:a16="http://schemas.microsoft.com/office/drawing/2014/main" id="{D5F5BB9B-F1EC-45D9-9CB7-D11256272499}"/>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8543A725-2ECD-475C-B8F2-4B95DD799F0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15" name="Picture 14">
              <a:extLst>
                <a:ext uri="{FF2B5EF4-FFF2-40B4-BE49-F238E27FC236}">
                  <a16:creationId xmlns:a16="http://schemas.microsoft.com/office/drawing/2014/main" id="{5D058906-F75B-403B-B22D-B41549B2401D}"/>
                </a:ext>
              </a:extLst>
            </p:cNvPr>
            <p:cNvPicPr>
              <a:picLocks noChangeAspect="1"/>
            </p:cNvPicPr>
            <p:nvPr userDrawn="1"/>
          </p:nvPicPr>
          <p:blipFill>
            <a:blip r:embed="rId3"/>
            <a:stretch>
              <a:fillRect/>
            </a:stretch>
          </p:blipFill>
          <p:spPr>
            <a:xfrm>
              <a:off x="-1884053" y="1200637"/>
              <a:ext cx="1418614" cy="1444137"/>
            </a:xfrm>
            <a:prstGeom prst="rect">
              <a:avLst/>
            </a:prstGeom>
          </p:spPr>
        </p:pic>
      </p:grpSp>
      <p:pic>
        <p:nvPicPr>
          <p:cNvPr id="24" name="Picture 23">
            <a:extLst>
              <a:ext uri="{FF2B5EF4-FFF2-40B4-BE49-F238E27FC236}">
                <a16:creationId xmlns:a16="http://schemas.microsoft.com/office/drawing/2014/main" id="{BB368B35-1A95-4DB8-9489-9493B9DFE5DC}"/>
              </a:ext>
            </a:extLst>
          </p:cNvPr>
          <p:cNvPicPr>
            <a:picLocks noChangeAspect="1"/>
          </p:cNvPicPr>
          <p:nvPr userDrawn="1"/>
        </p:nvPicPr>
        <p:blipFill>
          <a:blip r:embed="rId4"/>
          <a:stretch>
            <a:fillRect/>
          </a:stretch>
        </p:blipFill>
        <p:spPr>
          <a:xfrm>
            <a:off x="798617" y="6158174"/>
            <a:ext cx="2826826" cy="255541"/>
          </a:xfrm>
          <a:prstGeom prst="rect">
            <a:avLst/>
          </a:prstGeom>
        </p:spPr>
      </p:pic>
    </p:spTree>
    <p:extLst>
      <p:ext uri="{BB962C8B-B14F-4D97-AF65-F5344CB8AC3E}">
        <p14:creationId xmlns:p14="http://schemas.microsoft.com/office/powerpoint/2010/main" val="12062175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bright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2000" cy="6858000"/>
          </a:xfrm>
          <a:no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618" y="409475"/>
            <a:ext cx="9773923" cy="681390"/>
          </a:xfrm>
        </p:spPr>
        <p:txBody>
          <a:bodyPr tIns="0" anchor="t" anchorCtr="0"/>
          <a:lstStyle>
            <a:lvl1pPr>
              <a:defRPr sz="1539" cap="all" spc="-48" baseline="0" smtClean="0">
                <a:solidFill>
                  <a:schemeClr val="tx1"/>
                </a:solidFill>
                <a:latin typeface="Verdana" pitchFamily="34" charset="0"/>
              </a:defRPr>
            </a:lvl1pPr>
          </a:lstStyle>
          <a:p>
            <a:r>
              <a:rPr lang="en-GB" noProof="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617" y="1139481"/>
            <a:ext cx="9773463" cy="1254271"/>
          </a:xfrm>
        </p:spPr>
        <p:txBody>
          <a:bodyPr lIns="0"/>
          <a:lstStyle>
            <a:lvl1pPr marL="0" indent="0">
              <a:lnSpc>
                <a:spcPct val="100000"/>
              </a:lnSpc>
              <a:spcAft>
                <a:spcPts val="0"/>
              </a:spcAft>
              <a:buFontTx/>
              <a:buNone/>
              <a:defRPr sz="1539" b="1" cap="all" spc="-48" baseline="0" smtClean="0">
                <a:solidFill>
                  <a:schemeClr val="tx2"/>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lvl1pPr>
          </a:lstStyle>
          <a:p>
            <a:pPr lvl="0"/>
            <a:r>
              <a:rPr lang="en-GB"/>
              <a:t>Subtitle</a:t>
            </a:r>
          </a:p>
        </p:txBody>
      </p:sp>
      <p:sp>
        <p:nvSpPr>
          <p:cNvPr id="7"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9" name="Slide Number Placeholder 5" hidden="1"/>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7" name="Footer Placeholder 4" hidden="1">
            <a:extLst>
              <a:ext uri="{FF2B5EF4-FFF2-40B4-BE49-F238E27FC236}">
                <a16:creationId xmlns:a16="http://schemas.microsoft.com/office/drawing/2014/main" id="{32F99A81-D9A2-4F30-8989-49FBFDFFBC22}"/>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8" name="Date_DateCustomA">
            <a:extLst>
              <a:ext uri="{FF2B5EF4-FFF2-40B4-BE49-F238E27FC236}">
                <a16:creationId xmlns:a16="http://schemas.microsoft.com/office/drawing/2014/main" id="{4677BC5A-C865-45E8-BEA2-32CF74611B59}"/>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
        <p:nvSpPr>
          <p:cNvPr id="12" name="Text Placeholder 2">
            <a:extLst>
              <a:ext uri="{FF2B5EF4-FFF2-40B4-BE49-F238E27FC236}">
                <a16:creationId xmlns:a16="http://schemas.microsoft.com/office/drawing/2014/main" id="{7BCB23DC-9A5C-4856-B9D3-C9BA6C166827}"/>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128974741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dark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2000" cy="6858000"/>
          </a:xfrm>
          <a:solidFill>
            <a:srgbClr val="F6F6F4"/>
          </a:solid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618" y="409475"/>
            <a:ext cx="9774382" cy="681390"/>
          </a:xfrm>
        </p:spPr>
        <p:txBody>
          <a:bodyPr tIns="0" anchor="t" anchorCtr="0"/>
          <a:lstStyle>
            <a:lvl1pPr>
              <a:defRPr sz="1539" cap="all" spc="-48" baseline="0" smtClean="0">
                <a:solidFill>
                  <a:schemeClr val="tx2"/>
                </a:solidFill>
                <a:latin typeface="Verdana" pitchFamily="34" charset="0"/>
              </a:defRPr>
            </a:lvl1pPr>
          </a:lstStyle>
          <a:p>
            <a:r>
              <a:rPr lang="en-GB" noProof="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617" y="1139481"/>
            <a:ext cx="9773923" cy="1254271"/>
          </a:xfrm>
        </p:spPr>
        <p:txBody>
          <a:bodyPr lIns="0"/>
          <a:lstStyle>
            <a:lvl1pPr marL="0" indent="0">
              <a:lnSpc>
                <a:spcPct val="100000"/>
              </a:lnSpc>
              <a:spcAft>
                <a:spcPts val="0"/>
              </a:spcAft>
              <a:buFontTx/>
              <a:buNone/>
              <a:defRPr sz="1539" b="1" cap="all" spc="-48" baseline="0" smtClean="0">
                <a:solidFill>
                  <a:schemeClr val="bg1"/>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solidFill>
                  <a:schemeClr val="bg1"/>
                </a:solidFill>
              </a:defRPr>
            </a:lvl1pPr>
          </a:lstStyle>
          <a:p>
            <a:pPr lvl="0"/>
            <a:r>
              <a:rPr lang="en-GB"/>
              <a:t>Subtitle</a:t>
            </a:r>
          </a:p>
        </p:txBody>
      </p:sp>
      <p:sp>
        <p:nvSpPr>
          <p:cNvPr id="7"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19" name="Slide Number Placeholder 5" hidden="1">
            <a:extLst>
              <a:ext uri="{FF2B5EF4-FFF2-40B4-BE49-F238E27FC236}">
                <a16:creationId xmlns:a16="http://schemas.microsoft.com/office/drawing/2014/main" id="{F31626DF-C504-456C-BABA-F9E112AEAE62}"/>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22" name="Footer Placeholder 4" hidden="1">
            <a:extLst>
              <a:ext uri="{FF2B5EF4-FFF2-40B4-BE49-F238E27FC236}">
                <a16:creationId xmlns:a16="http://schemas.microsoft.com/office/drawing/2014/main" id="{148EA343-9CD9-4A35-8E70-A9FAF3855BD9}"/>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23" name="Date_DateCustomA" hidden="1">
            <a:extLst>
              <a:ext uri="{FF2B5EF4-FFF2-40B4-BE49-F238E27FC236}">
                <a16:creationId xmlns:a16="http://schemas.microsoft.com/office/drawing/2014/main" id="{D46E539C-AF02-4268-B134-91B646ABB7B9}"/>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
        <p:nvSpPr>
          <p:cNvPr id="12" name="Text Placeholder 2">
            <a:extLst>
              <a:ext uri="{FF2B5EF4-FFF2-40B4-BE49-F238E27FC236}">
                <a16:creationId xmlns:a16="http://schemas.microsoft.com/office/drawing/2014/main" id="{CB71DD6B-2BD1-40F7-8209-3A56F244488F}"/>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7800529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reaker (A)">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24" name="Title 1">
            <a:extLst>
              <a:ext uri="{FF2B5EF4-FFF2-40B4-BE49-F238E27FC236}">
                <a16:creationId xmlns:a16="http://schemas.microsoft.com/office/drawing/2014/main" id="{205C9348-6845-4A4F-958A-4A052BC8EDF6}"/>
              </a:ext>
            </a:extLst>
          </p:cNvPr>
          <p:cNvSpPr>
            <a:spLocks noGrp="1"/>
          </p:cNvSpPr>
          <p:nvPr>
            <p:ph type="title" hasCustomPrompt="1"/>
          </p:nvPr>
        </p:nvSpPr>
        <p:spPr>
          <a:xfrm>
            <a:off x="798618" y="452438"/>
            <a:ext cx="7330441" cy="5254627"/>
          </a:xfrm>
        </p:spPr>
        <p:txBody>
          <a:bodyPr/>
          <a:lstStyle>
            <a:lvl1pPr>
              <a:defRPr sz="1539">
                <a:solidFill>
                  <a:schemeClr val="bg1"/>
                </a:solidFill>
              </a:defRPr>
            </a:lvl1pPr>
          </a:lstStyle>
          <a:p>
            <a:r>
              <a:rPr lang="en-GB"/>
              <a:t>Breaker text</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1" name="Freeform 5">
            <a:extLst>
              <a:ext uri="{FF2B5EF4-FFF2-40B4-BE49-F238E27FC236}">
                <a16:creationId xmlns:a16="http://schemas.microsoft.com/office/drawing/2014/main" id="{19783461-93EA-4162-AC89-71558EC415F3}"/>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0" name="Footer Placeholder 4">
            <a:extLst>
              <a:ext uri="{FF2B5EF4-FFF2-40B4-BE49-F238E27FC236}">
                <a16:creationId xmlns:a16="http://schemas.microsoft.com/office/drawing/2014/main" id="{8EE38BD6-B0DE-4974-8C0E-549D4DF8AD81}"/>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4F117C74-452F-4005-AE59-9EDC236F06C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39E358D6-2C07-4588-BB20-50FD0000CCEB}" type="datetime1">
              <a:rPr lang="en-GB" smtClean="0"/>
              <a:t>20/06/2024</a:t>
            </a:fld>
            <a:endParaRPr lang="en-GB"/>
          </a:p>
        </p:txBody>
      </p:sp>
    </p:spTree>
    <p:extLst>
      <p:ext uri="{BB962C8B-B14F-4D97-AF65-F5344CB8AC3E}">
        <p14:creationId xmlns:p14="http://schemas.microsoft.com/office/powerpoint/2010/main" val="12459305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reaker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666208A-F4F9-4299-9F9F-6881C4C08564}"/>
              </a:ext>
            </a:extLst>
          </p:cNvPr>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619" y="452438"/>
            <a:ext cx="4886960" cy="5254627"/>
          </a:xfrm>
        </p:spPr>
        <p:txBody>
          <a:bodyPr/>
          <a:lstStyle>
            <a:lvl1pPr>
              <a:defRPr>
                <a:solidFill>
                  <a:schemeClr val="bg1"/>
                </a:solidFill>
              </a:defRPr>
            </a:lvl1pPr>
          </a:lstStyle>
          <a:p>
            <a:r>
              <a:rPr lang="en-GB"/>
              <a:t>Breaker text</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1" name="Footer Placeholder 4">
            <a:extLst>
              <a:ext uri="{FF2B5EF4-FFF2-40B4-BE49-F238E27FC236}">
                <a16:creationId xmlns:a16="http://schemas.microsoft.com/office/drawing/2014/main" id="{7AE25691-DC33-4C04-AF2A-3DEFF887BB00}"/>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F99201D3-72C4-4206-8970-FC1ACB025C0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E6892AED-DD77-42C7-BB42-12F75B7E66E8}" type="datetime1">
              <a:rPr lang="en-GB" smtClean="0"/>
              <a:t>20/06/2024</a:t>
            </a:fld>
            <a:endParaRPr lang="en-GB"/>
          </a:p>
        </p:txBody>
      </p:sp>
    </p:spTree>
    <p:extLst>
      <p:ext uri="{BB962C8B-B14F-4D97-AF65-F5344CB8AC3E}">
        <p14:creationId xmlns:p14="http://schemas.microsoft.com/office/powerpoint/2010/main" val="14005564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C52AC6E-7F31-46F0-897C-8CA895D525E5}"/>
              </a:ext>
            </a:extLst>
          </p:cNvPr>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0" name="Title 3">
            <a:extLst>
              <a:ext uri="{FF2B5EF4-FFF2-40B4-BE49-F238E27FC236}">
                <a16:creationId xmlns:a16="http://schemas.microsoft.com/office/drawing/2014/main" id="{12A0CAF9-565B-4643-8539-61D9B882A512}"/>
              </a:ext>
            </a:extLst>
          </p:cNvPr>
          <p:cNvSpPr>
            <a:spLocks noGrp="1"/>
          </p:cNvSpPr>
          <p:nvPr>
            <p:ph type="title"/>
          </p:nvPr>
        </p:nvSpPr>
        <p:spPr>
          <a:xfrm>
            <a:off x="798617" y="453496"/>
            <a:ext cx="10590003" cy="748626"/>
          </a:xfrm>
        </p:spPr>
        <p:txBody>
          <a:bodyPr/>
          <a:lstStyle>
            <a:lvl1pPr>
              <a:defRPr>
                <a:solidFill>
                  <a:schemeClr val="bg1"/>
                </a:solidFill>
              </a:defRPr>
            </a:lvl1pPr>
          </a:lstStyle>
          <a:p>
            <a:r>
              <a:rPr lang="en-US"/>
              <a:t>Click to edit Master title style</a:t>
            </a:r>
            <a:endParaRPr lang="en-GB"/>
          </a:p>
        </p:txBody>
      </p:sp>
      <p:sp>
        <p:nvSpPr>
          <p:cNvPr id="5" name="Text Placeholder 4">
            <a:extLst>
              <a:ext uri="{FF2B5EF4-FFF2-40B4-BE49-F238E27FC236}">
                <a16:creationId xmlns:a16="http://schemas.microsoft.com/office/drawing/2014/main" id="{86D6618B-DF84-4E96-B2FD-7B59D5717CEB}"/>
              </a:ext>
            </a:extLst>
          </p:cNvPr>
          <p:cNvSpPr>
            <a:spLocks noGrp="1"/>
          </p:cNvSpPr>
          <p:nvPr>
            <p:ph type="body" sz="quarter" idx="13" hasCustomPrompt="1"/>
          </p:nvPr>
        </p:nvSpPr>
        <p:spPr>
          <a:xfrm>
            <a:off x="798618" y="1633160"/>
            <a:ext cx="10590003" cy="4086866"/>
          </a:xfrm>
        </p:spPr>
        <p:txBody>
          <a:bodyPr/>
          <a:lstStyle>
            <a:lvl1pPr marL="116075" indent="-116075">
              <a:buFont typeface="+mj-lt"/>
              <a:buAutoNum type="arabicPeriod"/>
              <a:defRPr sz="449" b="1" cap="all" baseline="0">
                <a:solidFill>
                  <a:schemeClr val="bg1"/>
                </a:solidFill>
              </a:defRPr>
            </a:lvl1pPr>
            <a:lvl2pPr marL="201095" indent="-85020">
              <a:defRPr sz="449" b="1" cap="all" baseline="0">
                <a:solidFill>
                  <a:schemeClr val="bg1"/>
                </a:solidFill>
              </a:defRPr>
            </a:lvl2pPr>
            <a:lvl3pPr>
              <a:defRPr b="1" cap="all" baseline="0">
                <a:solidFill>
                  <a:schemeClr val="bg1"/>
                </a:solidFill>
              </a:defRPr>
            </a:lvl3pPr>
            <a:lvl4pPr>
              <a:defRPr b="1" cap="all" baseline="0">
                <a:solidFill>
                  <a:schemeClr val="bg1"/>
                </a:solidFill>
              </a:defRPr>
            </a:lvl4pPr>
            <a:lvl5pPr>
              <a:defRPr b="1" cap="all" baseline="0">
                <a:solidFill>
                  <a:schemeClr val="bg1"/>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5" name="Footer Placeholder 4">
            <a:extLst>
              <a:ext uri="{FF2B5EF4-FFF2-40B4-BE49-F238E27FC236}">
                <a16:creationId xmlns:a16="http://schemas.microsoft.com/office/drawing/2014/main" id="{3023EA8A-7243-49C8-8C39-DC7F2EDABC60}"/>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0BFC8F03-4431-41CF-AF1F-ECDA545293A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CD4A6F46-B6F7-4994-AAE4-379699F66888}" type="datetime1">
              <a:rPr lang="en-GB" smtClean="0"/>
              <a:t>20/06/2024</a:t>
            </a:fld>
            <a:endParaRPr lang="en-GB"/>
          </a:p>
        </p:txBody>
      </p:sp>
    </p:spTree>
    <p:extLst>
      <p:ext uri="{BB962C8B-B14F-4D97-AF65-F5344CB8AC3E}">
        <p14:creationId xmlns:p14="http://schemas.microsoft.com/office/powerpoint/2010/main" val="27077468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BAD0C-7FB6-4652-87AA-A678753BF180}"/>
              </a:ext>
            </a:extLst>
          </p:cNvPr>
          <p:cNvSpPr>
            <a:spLocks noGrp="1"/>
          </p:cNvSpPr>
          <p:nvPr>
            <p:ph type="title"/>
          </p:nvPr>
        </p:nvSpPr>
        <p:spPr>
          <a:xfrm>
            <a:off x="798617" y="453496"/>
            <a:ext cx="10590003"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798617" y="1644652"/>
            <a:ext cx="10590003"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5" name="Footer Placeholder 4">
            <a:extLst>
              <a:ext uri="{FF2B5EF4-FFF2-40B4-BE49-F238E27FC236}">
                <a16:creationId xmlns:a16="http://schemas.microsoft.com/office/drawing/2014/main" id="{C5FF0F6B-AA6E-4B16-90F1-26987BBE96A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7" name="Date_DateCustomA">
            <a:extLst>
              <a:ext uri="{FF2B5EF4-FFF2-40B4-BE49-F238E27FC236}">
                <a16:creationId xmlns:a16="http://schemas.microsoft.com/office/drawing/2014/main" id="{FDCD1E09-F97D-49B0-8DE9-0E701EFB5FB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3B98ADA4-E8FA-45D8-A667-5B7FA1A67187}" type="datetime1">
              <a:rPr lang="en-GB" smtClean="0"/>
              <a:t>20/06/2024</a:t>
            </a:fld>
            <a:endParaRPr lang="en-GB"/>
          </a:p>
        </p:txBody>
      </p:sp>
    </p:spTree>
    <p:extLst>
      <p:ext uri="{BB962C8B-B14F-4D97-AF65-F5344CB8AC3E}">
        <p14:creationId xmlns:p14="http://schemas.microsoft.com/office/powerpoint/2010/main" val="8175516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4886961"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49478155-5C9E-4D4A-AA75-125DF35A1CB8}"/>
              </a:ext>
            </a:extLst>
          </p:cNvPr>
          <p:cNvSpPr>
            <a:spLocks noGrp="1"/>
          </p:cNvSpPr>
          <p:nvPr>
            <p:ph sz="quarter" idx="16"/>
          </p:nvPr>
        </p:nvSpPr>
        <p:spPr>
          <a:xfrm>
            <a:off x="6500071" y="1644651"/>
            <a:ext cx="4888549"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1B842E0E-6D91-4141-882C-6C91050C6F2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C64885CE-5A72-464C-A675-4AEA666E3E6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51C8650-3279-4A76-90A4-98B51440301C}" type="datetime1">
              <a:rPr lang="en-GB" smtClean="0"/>
              <a:t>20/06/2024</a:t>
            </a:fld>
            <a:endParaRPr lang="en-GB"/>
          </a:p>
        </p:txBody>
      </p:sp>
    </p:spTree>
    <p:extLst>
      <p:ext uri="{BB962C8B-B14F-4D97-AF65-F5344CB8AC3E}">
        <p14:creationId xmlns:p14="http://schemas.microsoft.com/office/powerpoint/2010/main" val="4985547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4072467"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3" name="Content Placeholder 4">
            <a:extLst>
              <a:ext uri="{FF2B5EF4-FFF2-40B4-BE49-F238E27FC236}">
                <a16:creationId xmlns:a16="http://schemas.microsoft.com/office/drawing/2014/main" id="{535335C1-5736-449E-B5A3-80EF8EFB92D0}"/>
              </a:ext>
            </a:extLst>
          </p:cNvPr>
          <p:cNvSpPr>
            <a:spLocks noGrp="1"/>
          </p:cNvSpPr>
          <p:nvPr>
            <p:ph sz="quarter" idx="16"/>
          </p:nvPr>
        </p:nvSpPr>
        <p:spPr>
          <a:xfrm>
            <a:off x="5685579" y="1644651"/>
            <a:ext cx="5703042"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4485281A-363B-4F1C-8128-EA4AF52562B6}"/>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B0E6362C-AD60-4A3E-B1BD-8ACCD0B3D70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B13202A9-DE11-408D-9B8A-7630BF567349}" type="datetime1">
              <a:rPr lang="en-GB" smtClean="0"/>
              <a:t>20/06/2024</a:t>
            </a:fld>
            <a:endParaRPr lang="en-GB"/>
          </a:p>
        </p:txBody>
      </p:sp>
    </p:spTree>
    <p:extLst>
      <p:ext uri="{BB962C8B-B14F-4D97-AF65-F5344CB8AC3E}">
        <p14:creationId xmlns:p14="http://schemas.microsoft.com/office/powerpoint/2010/main" val="20688969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F0DDBC-A080-42CE-8715-C06C1706FFC5}"/>
              </a:ext>
            </a:extLst>
          </p:cNvPr>
          <p:cNvGraphicFramePr>
            <a:graphicFrameLocks noChangeAspect="1"/>
          </p:cNvGraphicFramePr>
          <p:nvPr userDrawn="1">
            <p:custDataLst>
              <p:tags r:id="rId1"/>
            </p:custDataLst>
            <p:extLst>
              <p:ext uri="{D42A27DB-BD31-4B8C-83A1-F6EECF244321}">
                <p14:modId xmlns:p14="http://schemas.microsoft.com/office/powerpoint/2010/main" val="2586833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3F0DDBC-A080-42CE-8715-C06C1706FF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20-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5701454"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4">
            <a:extLst>
              <a:ext uri="{FF2B5EF4-FFF2-40B4-BE49-F238E27FC236}">
                <a16:creationId xmlns:a16="http://schemas.microsoft.com/office/drawing/2014/main" id="{414EC495-A6B9-4C60-A011-7047269C9CE9}"/>
              </a:ext>
            </a:extLst>
          </p:cNvPr>
          <p:cNvSpPr>
            <a:spLocks noGrp="1"/>
          </p:cNvSpPr>
          <p:nvPr>
            <p:ph sz="quarter" idx="16"/>
          </p:nvPr>
        </p:nvSpPr>
        <p:spPr>
          <a:xfrm>
            <a:off x="7314565" y="1644651"/>
            <a:ext cx="4074055"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B60EC9E1-A6E7-4EDC-A604-820C98771D2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73643761-53E5-4729-8F9C-AC57323CEE05}"/>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620D795-7D6C-4DDD-9364-2C8C35AA87F6}" type="datetime1">
              <a:rPr lang="en-GB" smtClean="0"/>
              <a:t>20/06/2024</a:t>
            </a:fld>
            <a:endParaRPr lang="en-GB"/>
          </a:p>
        </p:txBody>
      </p:sp>
    </p:spTree>
    <p:extLst>
      <p:ext uri="{BB962C8B-B14F-4D97-AF65-F5344CB8AC3E}">
        <p14:creationId xmlns:p14="http://schemas.microsoft.com/office/powerpoint/2010/main" val="153649143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and icon (A)">
    <p:spTree>
      <p:nvGrpSpPr>
        <p:cNvPr id="1" name=""/>
        <p:cNvGrpSpPr/>
        <p:nvPr/>
      </p:nvGrpSpPr>
      <p:grpSpPr>
        <a:xfrm>
          <a:off x="0" y="0"/>
          <a:ext cx="0" cy="0"/>
          <a:chOff x="0" y="0"/>
          <a:chExt cx="0" cy="0"/>
        </a:xfrm>
      </p:grpSpPr>
      <p:sp>
        <p:nvSpPr>
          <p:cNvPr id="4" name="Title 1"/>
          <p:cNvSpPr>
            <a:spLocks noGrp="1"/>
          </p:cNvSpPr>
          <p:nvPr>
            <p:ph type="title"/>
          </p:nvPr>
        </p:nvSpPr>
        <p:spPr>
          <a:xfrm>
            <a:off x="798618" y="452439"/>
            <a:ext cx="8959428"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798617" y="1644652"/>
            <a:ext cx="10590003"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3">
            <a:extLst>
              <a:ext uri="{FF2B5EF4-FFF2-40B4-BE49-F238E27FC236}">
                <a16:creationId xmlns:a16="http://schemas.microsoft.com/office/drawing/2014/main" id="{6FB39600-48A6-438C-ACEE-E7C3FBF9C3A2}"/>
              </a:ext>
            </a:extLst>
          </p:cNvPr>
          <p:cNvSpPr>
            <a:spLocks noGrp="1"/>
          </p:cNvSpPr>
          <p:nvPr>
            <p:ph type="pic" sz="quarter" idx="11" hasCustomPrompt="1"/>
          </p:nvPr>
        </p:nvSpPr>
        <p:spPr>
          <a:xfrm>
            <a:off x="10572540" y="452439"/>
            <a:ext cx="801068" cy="800779"/>
          </a:xfrm>
          <a:noFill/>
          <a:ln>
            <a:noFill/>
          </a:ln>
        </p:spPr>
        <p:txBody>
          <a:bodyPr lIns="38399" tIns="0" anchor="t" anchorCtr="0"/>
          <a:lstStyle>
            <a:lvl1pPr marL="0" indent="0">
              <a:buNone/>
              <a:defRPr sz="577">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C4DE7E55-1B3D-4B43-B1B5-DE5E4FAB9891}"/>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F5D459F2-4C14-4DC3-8A9D-B1E9DF21E4C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B90C0BA-1BD5-469D-8018-C447C1EB2A93}" type="datetime1">
              <a:rPr lang="en-GB" smtClean="0"/>
              <a:t>20/06/2024</a:t>
            </a:fld>
            <a:endParaRPr lang="en-GB"/>
          </a:p>
        </p:txBody>
      </p:sp>
    </p:spTree>
    <p:extLst>
      <p:ext uri="{BB962C8B-B14F-4D97-AF65-F5344CB8AC3E}">
        <p14:creationId xmlns:p14="http://schemas.microsoft.com/office/powerpoint/2010/main" val="281045398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and icon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618" y="1644652"/>
            <a:ext cx="895942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10572539" y="1644654"/>
            <a:ext cx="818271" cy="817975"/>
          </a:xfrm>
          <a:noFill/>
          <a:ln>
            <a:noFill/>
          </a:ln>
        </p:spPr>
        <p:txBody>
          <a:bodyPr lIns="38399" tIns="0" anchor="t" anchorCtr="0"/>
          <a:lstStyle>
            <a:lvl1pPr marL="0" indent="0">
              <a:buNone/>
              <a:defRPr sz="577">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E31502FD-B05E-464F-8932-42D027579D97}"/>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AA65EC4C-43E8-483C-B54B-30D5535BB4C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02DADF78-B3EF-4042-B2F9-5AAFBCE5A22E}" type="datetime1">
              <a:rPr lang="en-GB" smtClean="0"/>
              <a:t>20/06/2024</a:t>
            </a:fld>
            <a:endParaRPr lang="en-GB"/>
          </a:p>
        </p:txBody>
      </p:sp>
    </p:spTree>
    <p:extLst>
      <p:ext uri="{BB962C8B-B14F-4D97-AF65-F5344CB8AC3E}">
        <p14:creationId xmlns:p14="http://schemas.microsoft.com/office/powerpoint/2010/main" val="40153172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and illustration (A)">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618" y="1644652"/>
            <a:ext cx="651594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8129058" y="1644653"/>
            <a:ext cx="3259562" cy="3239941"/>
          </a:xfrm>
          <a:noFill/>
          <a:ln>
            <a:noFill/>
          </a:ln>
        </p:spPr>
        <p:txBody>
          <a:bodyPr lIns="38399" tIns="0" anchor="t" anchorCtr="0"/>
          <a:lstStyle>
            <a:lvl1pPr marL="0" indent="0">
              <a:buNone/>
              <a:defRPr sz="577">
                <a:solidFill>
                  <a:schemeClr val="tx1"/>
                </a:solidFill>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FB97A6BE-821A-4BF5-AFE7-9A048351C6D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1815BEB-2C63-4CBF-9795-6F15022666B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BA51A42-5836-428D-B66B-B65A92E2CCAA}" type="datetime1">
              <a:rPr lang="en-GB" smtClean="0"/>
              <a:t>20/06/2024</a:t>
            </a:fld>
            <a:endParaRPr lang="en-GB"/>
          </a:p>
        </p:txBody>
      </p:sp>
    </p:spTree>
    <p:extLst>
      <p:ext uri="{BB962C8B-B14F-4D97-AF65-F5344CB8AC3E}">
        <p14:creationId xmlns:p14="http://schemas.microsoft.com/office/powerpoint/2010/main" val="268739970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and  illustration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5701454"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4">
            <a:extLst>
              <a:ext uri="{FF2B5EF4-FFF2-40B4-BE49-F238E27FC236}">
                <a16:creationId xmlns:a16="http://schemas.microsoft.com/office/drawing/2014/main" id="{286587FC-F18B-4FBE-8CD2-663B9BA8C734}"/>
              </a:ext>
            </a:extLst>
          </p:cNvPr>
          <p:cNvSpPr>
            <a:spLocks noGrp="1"/>
          </p:cNvSpPr>
          <p:nvPr>
            <p:ph type="pic" sz="quarter" idx="14" hasCustomPrompt="1"/>
          </p:nvPr>
        </p:nvSpPr>
        <p:spPr>
          <a:xfrm>
            <a:off x="7314567" y="1644269"/>
            <a:ext cx="4074055" cy="4062797"/>
          </a:xfrm>
        </p:spPr>
        <p:txBody>
          <a:bodyPr/>
          <a:lstStyle>
            <a:lvl1pPr marL="0" indent="0">
              <a:buNone/>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9B89233D-8149-4491-95B2-DE11051C861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D2C9554E-F561-4DDA-B278-92702108D9B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136937CD-C8B6-42FA-9EC6-EF300AFFE646}" type="datetime1">
              <a:rPr lang="en-GB" smtClean="0"/>
              <a:t>20/06/2024</a:t>
            </a:fld>
            <a:endParaRPr lang="en-GB"/>
          </a:p>
        </p:txBody>
      </p:sp>
    </p:spTree>
    <p:extLst>
      <p:ext uri="{BB962C8B-B14F-4D97-AF65-F5344CB8AC3E}">
        <p14:creationId xmlns:p14="http://schemas.microsoft.com/office/powerpoint/2010/main" val="8872772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and fact text">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618" y="1644652"/>
            <a:ext cx="7330441"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89007D2D-A158-459C-BE2E-0A1D348DA7C9}"/>
              </a:ext>
            </a:extLst>
          </p:cNvPr>
          <p:cNvSpPr>
            <a:spLocks noGrp="1"/>
          </p:cNvSpPr>
          <p:nvPr>
            <p:ph type="body" sz="quarter" idx="15" hasCustomPrompt="1"/>
          </p:nvPr>
        </p:nvSpPr>
        <p:spPr>
          <a:xfrm>
            <a:off x="8943552" y="1644391"/>
            <a:ext cx="244506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3</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Text Placeholder 6">
            <a:extLst>
              <a:ext uri="{FF2B5EF4-FFF2-40B4-BE49-F238E27FC236}">
                <a16:creationId xmlns:a16="http://schemas.microsoft.com/office/drawing/2014/main" id="{99C5C721-7970-4C21-B42B-33753616C1B3}"/>
              </a:ext>
            </a:extLst>
          </p:cNvPr>
          <p:cNvSpPr>
            <a:spLocks noGrp="1"/>
          </p:cNvSpPr>
          <p:nvPr>
            <p:ph type="body" sz="quarter" idx="14" hasCustomPrompt="1"/>
          </p:nvPr>
        </p:nvSpPr>
        <p:spPr>
          <a:xfrm>
            <a:off x="8943553" y="4991259"/>
            <a:ext cx="2445068" cy="715807"/>
          </a:xfrm>
        </p:spPr>
        <p:txBody>
          <a:bodyPr lIns="0" anchor="b" anchorCtr="0"/>
          <a:lstStyle>
            <a:lvl1pPr marL="73310" indent="-73310">
              <a:lnSpc>
                <a:spcPct val="80000"/>
              </a:lnSpc>
              <a:spcAft>
                <a:spcPts val="385"/>
              </a:spcAft>
              <a:buFont typeface="+mj-lt"/>
              <a:buAutoNum type="arabicParenR"/>
              <a:defRPr sz="321" b="0" i="1" cap="none" spc="0" baseline="0">
                <a:solidFill>
                  <a:schemeClr val="bg2"/>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grpSp>
        <p:nvGrpSpPr>
          <p:cNvPr id="3" name="Group 2">
            <a:extLst>
              <a:ext uri="{FF2B5EF4-FFF2-40B4-BE49-F238E27FC236}">
                <a16:creationId xmlns:a16="http://schemas.microsoft.com/office/drawing/2014/main" id="{CBDD567F-EFA3-4304-9F2D-5128B34EFFF1}"/>
              </a:ext>
            </a:extLst>
          </p:cNvPr>
          <p:cNvGrpSpPr/>
          <p:nvPr userDrawn="1"/>
        </p:nvGrpSpPr>
        <p:grpSpPr>
          <a:xfrm>
            <a:off x="12341465" y="1633992"/>
            <a:ext cx="1797025" cy="2906915"/>
            <a:chOff x="12403271" y="-1"/>
            <a:chExt cx="1796791" cy="2907588"/>
          </a:xfrm>
        </p:grpSpPr>
        <p:pic>
          <p:nvPicPr>
            <p:cNvPr id="9" name="Picture 8">
              <a:extLst>
                <a:ext uri="{FF2B5EF4-FFF2-40B4-BE49-F238E27FC236}">
                  <a16:creationId xmlns:a16="http://schemas.microsoft.com/office/drawing/2014/main" id="{760E582F-46F7-4DF2-ABCB-E07E85419FF4}"/>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2" name="Group 11">
              <a:extLst>
                <a:ext uri="{FF2B5EF4-FFF2-40B4-BE49-F238E27FC236}">
                  <a16:creationId xmlns:a16="http://schemas.microsoft.com/office/drawing/2014/main" id="{FA367DCD-123C-45F4-87EB-1586FA603E3A}"/>
                </a:ext>
              </a:extLst>
            </p:cNvPr>
            <p:cNvGrpSpPr/>
            <p:nvPr userDrawn="1"/>
          </p:nvGrpSpPr>
          <p:grpSpPr>
            <a:xfrm>
              <a:off x="12403271" y="-1"/>
              <a:ext cx="1796791" cy="2907588"/>
              <a:chOff x="9009867" y="1645032"/>
              <a:chExt cx="2365739" cy="3828268"/>
            </a:xfrm>
          </p:grpSpPr>
          <p:pic>
            <p:nvPicPr>
              <p:cNvPr id="15" name="Picture 14">
                <a:extLst>
                  <a:ext uri="{FF2B5EF4-FFF2-40B4-BE49-F238E27FC236}">
                    <a16:creationId xmlns:a16="http://schemas.microsoft.com/office/drawing/2014/main" id="{132FA97E-008F-4B07-B688-A7B22404D82A}"/>
                  </a:ext>
                </a:extLst>
              </p:cNvPr>
              <p:cNvPicPr>
                <a:picLocks noChangeAspect="1"/>
              </p:cNvPicPr>
              <p:nvPr/>
            </p:nvPicPr>
            <p:blipFill>
              <a:blip r:embed="rId3"/>
              <a:stretch>
                <a:fillRect/>
              </a:stretch>
            </p:blipFill>
            <p:spPr>
              <a:xfrm>
                <a:off x="9182748" y="1852126"/>
                <a:ext cx="599367" cy="280555"/>
              </a:xfrm>
              <a:prstGeom prst="rect">
                <a:avLst/>
              </a:prstGeom>
            </p:spPr>
          </p:pic>
          <p:sp>
            <p:nvSpPr>
              <p:cNvPr id="16" name="TextBox 15">
                <a:extLst>
                  <a:ext uri="{FF2B5EF4-FFF2-40B4-BE49-F238E27FC236}">
                    <a16:creationId xmlns:a16="http://schemas.microsoft.com/office/drawing/2014/main" id="{8F49FA4C-A0C7-484D-9CD0-A2B1528B3A2E}"/>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7" name="Rectangle: Rounded Corners 16">
                <a:extLst>
                  <a:ext uri="{FF2B5EF4-FFF2-40B4-BE49-F238E27FC236}">
                    <a16:creationId xmlns:a16="http://schemas.microsoft.com/office/drawing/2014/main" id="{93B8FE7B-9EF6-429C-AC7B-79E85DFB481D}"/>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grpSp>
      <p:sp>
        <p:nvSpPr>
          <p:cNvPr id="14" name="Footer Placeholder 4">
            <a:extLst>
              <a:ext uri="{FF2B5EF4-FFF2-40B4-BE49-F238E27FC236}">
                <a16:creationId xmlns:a16="http://schemas.microsoft.com/office/drawing/2014/main" id="{67D61A51-31AF-4082-AFF9-2D4AE9DB7C87}"/>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9" name="Date_DateCustomA">
            <a:extLst>
              <a:ext uri="{FF2B5EF4-FFF2-40B4-BE49-F238E27FC236}">
                <a16:creationId xmlns:a16="http://schemas.microsoft.com/office/drawing/2014/main" id="{8BB7FA2D-0C66-4D42-8CC8-567BD958137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6E10093C-62DA-496A-9DBF-6F8D26F3BF2E}" type="datetime1">
              <a:rPr lang="en-GB" smtClean="0"/>
              <a:t>20/06/2024</a:t>
            </a:fld>
            <a:endParaRPr lang="en-GB"/>
          </a:p>
        </p:txBody>
      </p:sp>
    </p:spTree>
    <p:extLst>
      <p:ext uri="{BB962C8B-B14F-4D97-AF65-F5344CB8AC3E}">
        <p14:creationId xmlns:p14="http://schemas.microsoft.com/office/powerpoint/2010/main" val="848292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and two fact texts">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618" y="1644652"/>
            <a:ext cx="4072466"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559CAE46-C6D8-48BD-A372-1CDE93E9CCA9}"/>
              </a:ext>
            </a:extLst>
          </p:cNvPr>
          <p:cNvSpPr>
            <a:spLocks noGrp="1"/>
          </p:cNvSpPr>
          <p:nvPr>
            <p:ph type="body" sz="quarter" idx="13" hasCustomPrompt="1"/>
          </p:nvPr>
        </p:nvSpPr>
        <p:spPr>
          <a:xfrm>
            <a:off x="5685579" y="1644391"/>
            <a:ext cx="244347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8" name="Text Placeholder 6">
            <a:extLst>
              <a:ext uri="{FF2B5EF4-FFF2-40B4-BE49-F238E27FC236}">
                <a16:creationId xmlns:a16="http://schemas.microsoft.com/office/drawing/2014/main" id="{67908BB7-3AA9-46B8-9F51-F98F86B5DB18}"/>
              </a:ext>
            </a:extLst>
          </p:cNvPr>
          <p:cNvSpPr>
            <a:spLocks noGrp="1"/>
          </p:cNvSpPr>
          <p:nvPr>
            <p:ph type="body" sz="quarter" idx="14" hasCustomPrompt="1"/>
          </p:nvPr>
        </p:nvSpPr>
        <p:spPr>
          <a:xfrm>
            <a:off x="8943553" y="1644391"/>
            <a:ext cx="2445068"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grpSp>
        <p:nvGrpSpPr>
          <p:cNvPr id="16" name="Group 15">
            <a:extLst>
              <a:ext uri="{FF2B5EF4-FFF2-40B4-BE49-F238E27FC236}">
                <a16:creationId xmlns:a16="http://schemas.microsoft.com/office/drawing/2014/main" id="{F92F4B53-30AD-4697-89D7-9D962CE965E5}"/>
              </a:ext>
            </a:extLst>
          </p:cNvPr>
          <p:cNvGrpSpPr/>
          <p:nvPr userDrawn="1"/>
        </p:nvGrpSpPr>
        <p:grpSpPr>
          <a:xfrm>
            <a:off x="12341465" y="1633992"/>
            <a:ext cx="1797025" cy="2906915"/>
            <a:chOff x="12403271" y="-1"/>
            <a:chExt cx="1796791" cy="2907588"/>
          </a:xfrm>
        </p:grpSpPr>
        <p:pic>
          <p:nvPicPr>
            <p:cNvPr id="17" name="Picture 16">
              <a:extLst>
                <a:ext uri="{FF2B5EF4-FFF2-40B4-BE49-F238E27FC236}">
                  <a16:creationId xmlns:a16="http://schemas.microsoft.com/office/drawing/2014/main" id="{AF0FEF35-0958-440B-A77A-2699A83990A6}"/>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8" name="Group 17">
              <a:extLst>
                <a:ext uri="{FF2B5EF4-FFF2-40B4-BE49-F238E27FC236}">
                  <a16:creationId xmlns:a16="http://schemas.microsoft.com/office/drawing/2014/main" id="{24203BB4-30A9-4057-A809-926EDEDB9F4F}"/>
                </a:ext>
              </a:extLst>
            </p:cNvPr>
            <p:cNvGrpSpPr/>
            <p:nvPr userDrawn="1"/>
          </p:nvGrpSpPr>
          <p:grpSpPr>
            <a:xfrm>
              <a:off x="12403271" y="-1"/>
              <a:ext cx="1796791" cy="2907588"/>
              <a:chOff x="9009867" y="1645032"/>
              <a:chExt cx="2365739" cy="3828268"/>
            </a:xfrm>
          </p:grpSpPr>
          <p:pic>
            <p:nvPicPr>
              <p:cNvPr id="19" name="Picture 18">
                <a:extLst>
                  <a:ext uri="{FF2B5EF4-FFF2-40B4-BE49-F238E27FC236}">
                    <a16:creationId xmlns:a16="http://schemas.microsoft.com/office/drawing/2014/main" id="{7139BD4A-714C-44AF-902B-B7BB51BF1ECF}"/>
                  </a:ext>
                </a:extLst>
              </p:cNvPr>
              <p:cNvPicPr>
                <a:picLocks noChangeAspect="1"/>
              </p:cNvPicPr>
              <p:nvPr/>
            </p:nvPicPr>
            <p:blipFill>
              <a:blip r:embed="rId3"/>
              <a:stretch>
                <a:fillRect/>
              </a:stretch>
            </p:blipFill>
            <p:spPr>
              <a:xfrm>
                <a:off x="9182748" y="1852126"/>
                <a:ext cx="599367" cy="280555"/>
              </a:xfrm>
              <a:prstGeom prst="rect">
                <a:avLst/>
              </a:prstGeom>
            </p:spPr>
          </p:pic>
          <p:sp>
            <p:nvSpPr>
              <p:cNvPr id="20" name="TextBox 19">
                <a:extLst>
                  <a:ext uri="{FF2B5EF4-FFF2-40B4-BE49-F238E27FC236}">
                    <a16:creationId xmlns:a16="http://schemas.microsoft.com/office/drawing/2014/main" id="{FBB5C133-0407-4A77-B2F7-7E365D047DE4}"/>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1BBC228B-197B-44A3-99D0-D56237507B14}"/>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grpSp>
      <p:sp>
        <p:nvSpPr>
          <p:cNvPr id="13" name="Footer Placeholder 4">
            <a:extLst>
              <a:ext uri="{FF2B5EF4-FFF2-40B4-BE49-F238E27FC236}">
                <a16:creationId xmlns:a16="http://schemas.microsoft.com/office/drawing/2014/main" id="{CE9B38D5-AD3D-4AE8-88F2-0F9D25BB30C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5" name="Date_DateCustomA">
            <a:extLst>
              <a:ext uri="{FF2B5EF4-FFF2-40B4-BE49-F238E27FC236}">
                <a16:creationId xmlns:a16="http://schemas.microsoft.com/office/drawing/2014/main" id="{1AC23FC6-140A-4E04-B1F9-995F52FC873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79F0066-3164-42E7-92E6-6ECB81B57310}" type="datetime1">
              <a:rPr lang="en-GB" smtClean="0"/>
              <a:t>20/06/2024</a:t>
            </a:fld>
            <a:endParaRPr lang="en-GB"/>
          </a:p>
        </p:txBody>
      </p:sp>
    </p:spTree>
    <p:extLst>
      <p:ext uri="{BB962C8B-B14F-4D97-AF65-F5344CB8AC3E}">
        <p14:creationId xmlns:p14="http://schemas.microsoft.com/office/powerpoint/2010/main" val="16955098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act text and conten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868B673-9D9F-4BF4-8D81-D1B3477E6F0F}"/>
              </a:ext>
            </a:extLst>
          </p:cNvPr>
          <p:cNvGrpSpPr/>
          <p:nvPr userDrawn="1"/>
        </p:nvGrpSpPr>
        <p:grpSpPr>
          <a:xfrm>
            <a:off x="-1972350" y="1633992"/>
            <a:ext cx="1797025" cy="2906915"/>
            <a:chOff x="12339857" y="1634370"/>
            <a:chExt cx="1796791" cy="2907588"/>
          </a:xfrm>
        </p:grpSpPr>
        <p:sp>
          <p:nvSpPr>
            <p:cNvPr id="19" name="Rectangle: Rounded Corners 18">
              <a:extLst>
                <a:ext uri="{FF2B5EF4-FFF2-40B4-BE49-F238E27FC236}">
                  <a16:creationId xmlns:a16="http://schemas.microsoft.com/office/drawing/2014/main" id="{9F61C6D9-96E6-46EB-8545-E257C98220F8}"/>
                </a:ext>
              </a:extLst>
            </p:cNvPr>
            <p:cNvSpPr/>
            <p:nvPr/>
          </p:nvSpPr>
          <p:spPr>
            <a:xfrm>
              <a:off x="12339857" y="1634370"/>
              <a:ext cx="1796791" cy="290758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pic>
          <p:nvPicPr>
            <p:cNvPr id="17" name="Picture 16">
              <a:extLst>
                <a:ext uri="{FF2B5EF4-FFF2-40B4-BE49-F238E27FC236}">
                  <a16:creationId xmlns:a16="http://schemas.microsoft.com/office/drawing/2014/main" id="{23EC8C10-6A9E-4C2B-B6BA-69C39462851D}"/>
                </a:ext>
              </a:extLst>
            </p:cNvPr>
            <p:cNvPicPr>
              <a:picLocks noChangeAspect="1"/>
            </p:cNvPicPr>
            <p:nvPr/>
          </p:nvPicPr>
          <p:blipFill>
            <a:blip r:embed="rId2"/>
            <a:stretch>
              <a:fillRect/>
            </a:stretch>
          </p:blipFill>
          <p:spPr>
            <a:xfrm>
              <a:off x="12471161" y="1791659"/>
              <a:ext cx="455222" cy="213083"/>
            </a:xfrm>
            <a:prstGeom prst="rect">
              <a:avLst/>
            </a:prstGeom>
          </p:spPr>
        </p:pic>
        <p:sp>
          <p:nvSpPr>
            <p:cNvPr id="18" name="TextBox 17">
              <a:extLst>
                <a:ext uri="{FF2B5EF4-FFF2-40B4-BE49-F238E27FC236}">
                  <a16:creationId xmlns:a16="http://schemas.microsoft.com/office/drawing/2014/main" id="{BF580C90-4416-41DC-ADAC-F1014BB16E65}"/>
                </a:ext>
              </a:extLst>
            </p:cNvPr>
            <p:cNvSpPr txBox="1"/>
            <p:nvPr/>
          </p:nvSpPr>
          <p:spPr bwMode="auto">
            <a:xfrm>
              <a:off x="12483714" y="2086228"/>
              <a:ext cx="1433633" cy="10351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pic>
          <p:nvPicPr>
            <p:cNvPr id="15" name="Picture 14">
              <a:extLst>
                <a:ext uri="{FF2B5EF4-FFF2-40B4-BE49-F238E27FC236}">
                  <a16:creationId xmlns:a16="http://schemas.microsoft.com/office/drawing/2014/main" id="{22C7FA45-BEB8-4FA0-89DA-4AF47CEA9ACF}"/>
                </a:ext>
              </a:extLst>
            </p:cNvPr>
            <p:cNvPicPr>
              <a:picLocks noChangeAspect="1"/>
            </p:cNvPicPr>
            <p:nvPr userDrawn="1"/>
          </p:nvPicPr>
          <p:blipFill>
            <a:blip r:embed="rId3"/>
            <a:stretch>
              <a:fillRect/>
            </a:stretch>
          </p:blipFill>
          <p:spPr>
            <a:xfrm>
              <a:off x="12351204" y="2757038"/>
              <a:ext cx="1261627" cy="1565633"/>
            </a:xfrm>
            <a:prstGeom prst="rect">
              <a:avLst/>
            </a:prstGeom>
          </p:spPr>
        </p:pic>
      </p:grpSp>
      <p:grpSp>
        <p:nvGrpSpPr>
          <p:cNvPr id="21" name="Group 20">
            <a:extLst>
              <a:ext uri="{FF2B5EF4-FFF2-40B4-BE49-F238E27FC236}">
                <a16:creationId xmlns:a16="http://schemas.microsoft.com/office/drawing/2014/main" id="{21327CDE-D280-433E-A1DD-9B88BC9A9D74}"/>
              </a:ext>
            </a:extLst>
          </p:cNvPr>
          <p:cNvGrpSpPr/>
          <p:nvPr userDrawn="1"/>
        </p:nvGrpSpPr>
        <p:grpSpPr>
          <a:xfrm>
            <a:off x="12341465" y="1633992"/>
            <a:ext cx="1797025" cy="2906915"/>
            <a:chOff x="-1899137" y="-1"/>
            <a:chExt cx="1796791" cy="2907588"/>
          </a:xfrm>
        </p:grpSpPr>
        <p:grpSp>
          <p:nvGrpSpPr>
            <p:cNvPr id="22" name="Group 21">
              <a:extLst>
                <a:ext uri="{FF2B5EF4-FFF2-40B4-BE49-F238E27FC236}">
                  <a16:creationId xmlns:a16="http://schemas.microsoft.com/office/drawing/2014/main" id="{4AE14B58-12EA-4B20-8931-337F0DC7BE74}"/>
                </a:ext>
              </a:extLst>
            </p:cNvPr>
            <p:cNvGrpSpPr/>
            <p:nvPr userDrawn="1"/>
          </p:nvGrpSpPr>
          <p:grpSpPr>
            <a:xfrm>
              <a:off x="-1899137" y="-1"/>
              <a:ext cx="1796791" cy="2907588"/>
              <a:chOff x="9009867" y="1645032"/>
              <a:chExt cx="2365739" cy="3828268"/>
            </a:xfrm>
          </p:grpSpPr>
          <p:pic>
            <p:nvPicPr>
              <p:cNvPr id="24" name="Picture 23">
                <a:extLst>
                  <a:ext uri="{FF2B5EF4-FFF2-40B4-BE49-F238E27FC236}">
                    <a16:creationId xmlns:a16="http://schemas.microsoft.com/office/drawing/2014/main" id="{E1E15413-4664-4681-9444-310804612302}"/>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5" name="TextBox 24">
                <a:extLst>
                  <a:ext uri="{FF2B5EF4-FFF2-40B4-BE49-F238E27FC236}">
                    <a16:creationId xmlns:a16="http://schemas.microsoft.com/office/drawing/2014/main" id="{D2D38E9D-D309-4835-BB4A-24E940357F1D}"/>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6" name="Rectangle: Rounded Corners 25">
                <a:extLst>
                  <a:ext uri="{FF2B5EF4-FFF2-40B4-BE49-F238E27FC236}">
                    <a16:creationId xmlns:a16="http://schemas.microsoft.com/office/drawing/2014/main" id="{3408A5E0-BE3B-4CF6-B031-C7BDEAE8EF42}"/>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23" name="Picture 22">
              <a:extLst>
                <a:ext uri="{FF2B5EF4-FFF2-40B4-BE49-F238E27FC236}">
                  <a16:creationId xmlns:a16="http://schemas.microsoft.com/office/drawing/2014/main" id="{74467B95-2571-401A-B1E8-0E4825008764}"/>
                </a:ext>
              </a:extLst>
            </p:cNvPr>
            <p:cNvPicPr>
              <a:picLocks noChangeAspect="1"/>
            </p:cNvPicPr>
            <p:nvPr userDrawn="1"/>
          </p:nvPicPr>
          <p:blipFill>
            <a:blip r:embed="rId4"/>
            <a:stretch>
              <a:fillRect/>
            </a:stretch>
          </p:blipFill>
          <p:spPr>
            <a:xfrm>
              <a:off x="-1884053" y="1200637"/>
              <a:ext cx="1418614" cy="1444137"/>
            </a:xfrm>
            <a:prstGeom prst="rect">
              <a:avLst/>
            </a:prstGeom>
          </p:spPr>
        </p:pic>
      </p:grpSp>
      <p:sp>
        <p:nvSpPr>
          <p:cNvPr id="4" name="Title 1"/>
          <p:cNvSpPr>
            <a:spLocks noGrp="1"/>
          </p:cNvSpPr>
          <p:nvPr>
            <p:ph type="title"/>
          </p:nvPr>
        </p:nvSpPr>
        <p:spPr>
          <a:xfrm>
            <a:off x="798617" y="453496"/>
            <a:ext cx="10590003"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4056592" y="1644652"/>
            <a:ext cx="733202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6">
            <a:extLst>
              <a:ext uri="{FF2B5EF4-FFF2-40B4-BE49-F238E27FC236}">
                <a16:creationId xmlns:a16="http://schemas.microsoft.com/office/drawing/2014/main" id="{344D76E6-1904-4038-80C4-8BC46CEBB703}"/>
              </a:ext>
            </a:extLst>
          </p:cNvPr>
          <p:cNvSpPr>
            <a:spLocks noGrp="1"/>
          </p:cNvSpPr>
          <p:nvPr>
            <p:ph type="body" sz="quarter" idx="15" hasCustomPrompt="1"/>
          </p:nvPr>
        </p:nvSpPr>
        <p:spPr>
          <a:xfrm>
            <a:off x="798619" y="1644391"/>
            <a:ext cx="2443480"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0" name="Text Placeholder 6">
            <a:extLst>
              <a:ext uri="{FF2B5EF4-FFF2-40B4-BE49-F238E27FC236}">
                <a16:creationId xmlns:a16="http://schemas.microsoft.com/office/drawing/2014/main" id="{6CAB1BFF-44E8-48FF-AF80-4144B6650AAE}"/>
              </a:ext>
            </a:extLst>
          </p:cNvPr>
          <p:cNvSpPr>
            <a:spLocks noGrp="1"/>
          </p:cNvSpPr>
          <p:nvPr>
            <p:ph type="body" sz="quarter" idx="14" hasCustomPrompt="1"/>
          </p:nvPr>
        </p:nvSpPr>
        <p:spPr>
          <a:xfrm>
            <a:off x="798619" y="4991259"/>
            <a:ext cx="2443479" cy="715807"/>
          </a:xfrm>
        </p:spPr>
        <p:txBody>
          <a:bodyPr lIns="0" anchor="b" anchorCtr="0"/>
          <a:lstStyle>
            <a:lvl1pPr marL="73310" indent="-73310">
              <a:lnSpc>
                <a:spcPct val="80000"/>
              </a:lnSpc>
              <a:spcAft>
                <a:spcPts val="385"/>
              </a:spcAft>
              <a:buFont typeface="+mj-lt"/>
              <a:buAutoNum type="arabicParenR"/>
              <a:defRPr sz="321" b="0" i="1" cap="none" spc="0" baseline="0">
                <a:solidFill>
                  <a:schemeClr val="bg2"/>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27" name="Footer Placeholder 4">
            <a:extLst>
              <a:ext uri="{FF2B5EF4-FFF2-40B4-BE49-F238E27FC236}">
                <a16:creationId xmlns:a16="http://schemas.microsoft.com/office/drawing/2014/main" id="{BB98BEF1-8B24-44DD-B00E-B069E4D5CA5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9" name="Date_DateCustomA">
            <a:extLst>
              <a:ext uri="{FF2B5EF4-FFF2-40B4-BE49-F238E27FC236}">
                <a16:creationId xmlns:a16="http://schemas.microsoft.com/office/drawing/2014/main" id="{5AF2CA37-37E6-4F35-A8D3-13E15E8256C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E8FCDCF-FAAC-48D8-97CE-71AEDA9EFE29}" type="datetime1">
              <a:rPr lang="en-GB" smtClean="0"/>
              <a:t>20/06/2024</a:t>
            </a:fld>
            <a:endParaRPr lang="en-GB"/>
          </a:p>
        </p:txBody>
      </p:sp>
    </p:spTree>
    <p:extLst>
      <p:ext uri="{BB962C8B-B14F-4D97-AF65-F5344CB8AC3E}">
        <p14:creationId xmlns:p14="http://schemas.microsoft.com/office/powerpoint/2010/main" val="14470728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and image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6556C8-A731-4240-9800-194A4F70A1D8}"/>
              </a:ext>
            </a:extLst>
          </p:cNvPr>
          <p:cNvSpPr>
            <a:spLocks noGrp="1"/>
          </p:cNvSpPr>
          <p:nvPr>
            <p:ph type="title"/>
          </p:nvPr>
        </p:nvSpPr>
        <p:spPr>
          <a:xfrm>
            <a:off x="798618" y="452439"/>
            <a:ext cx="4072466" cy="748626"/>
          </a:xfrm>
        </p:spPr>
        <p:txBody>
          <a:bodyPr/>
          <a:lstStyle/>
          <a:p>
            <a:r>
              <a:rPr lang="en-US"/>
              <a:t>Click to edit Master title style</a:t>
            </a:r>
            <a:endParaRPr lang="en-GB"/>
          </a:p>
        </p:txBody>
      </p:sp>
      <p:sp>
        <p:nvSpPr>
          <p:cNvPr id="7" name="Content Placeholder 2">
            <a:extLst>
              <a:ext uri="{FF2B5EF4-FFF2-40B4-BE49-F238E27FC236}">
                <a16:creationId xmlns:a16="http://schemas.microsoft.com/office/drawing/2014/main" id="{F530FD33-AB9C-4A88-9BBB-1E385B91358C}"/>
              </a:ext>
            </a:extLst>
          </p:cNvPr>
          <p:cNvSpPr>
            <a:spLocks noGrp="1"/>
          </p:cNvSpPr>
          <p:nvPr>
            <p:ph idx="17" hasCustomPrompt="1"/>
          </p:nvPr>
        </p:nvSpPr>
        <p:spPr>
          <a:xfrm>
            <a:off x="798618" y="1644652"/>
            <a:ext cx="4072467"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Text Placeholder 6">
            <a:extLst>
              <a:ext uri="{FF2B5EF4-FFF2-40B4-BE49-F238E27FC236}">
                <a16:creationId xmlns:a16="http://schemas.microsoft.com/office/drawing/2014/main" id="{9C52035C-C8B1-4C44-976C-626BFFA7790E}"/>
              </a:ext>
            </a:extLst>
          </p:cNvPr>
          <p:cNvSpPr>
            <a:spLocks noGrp="1"/>
          </p:cNvSpPr>
          <p:nvPr>
            <p:ph type="body" sz="quarter" idx="14" hasCustomPrompt="1"/>
          </p:nvPr>
        </p:nvSpPr>
        <p:spPr>
          <a:xfrm>
            <a:off x="5685579" y="5388899"/>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536905"/>
            <a:ext cx="5703042" cy="4851994"/>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8" name="Footer Placeholder 4">
            <a:extLst>
              <a:ext uri="{FF2B5EF4-FFF2-40B4-BE49-F238E27FC236}">
                <a16:creationId xmlns:a16="http://schemas.microsoft.com/office/drawing/2014/main" id="{49DC368E-8BDB-41BB-B406-A3B0A25665D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6531AD21-BE76-4592-909B-A3B963868059}"/>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7E088B74-D5F8-4D6D-B466-6D0723103653}" type="datetime1">
              <a:rPr lang="en-GB" smtClean="0"/>
              <a:t>20/06/2024</a:t>
            </a:fld>
            <a:endParaRPr lang="en-GB"/>
          </a:p>
        </p:txBody>
      </p:sp>
    </p:spTree>
    <p:extLst>
      <p:ext uri="{BB962C8B-B14F-4D97-AF65-F5344CB8AC3E}">
        <p14:creationId xmlns:p14="http://schemas.microsoft.com/office/powerpoint/2010/main" val="404079408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and image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CDE71F-8FC2-4DE4-9423-EE57143478CB}"/>
              </a:ext>
            </a:extLst>
          </p:cNvPr>
          <p:cNvSpPr>
            <a:spLocks noGrp="1"/>
          </p:cNvSpPr>
          <p:nvPr>
            <p:ph type="title"/>
          </p:nvPr>
        </p:nvSpPr>
        <p:spPr>
          <a:xfrm>
            <a:off x="798617" y="452439"/>
            <a:ext cx="2443480" cy="748626"/>
          </a:xfrm>
        </p:spPr>
        <p:txBody>
          <a:bodyPr/>
          <a:lstStyle/>
          <a:p>
            <a:r>
              <a:rPr lang="en-US"/>
              <a:t>Click to edit Master title style</a:t>
            </a:r>
            <a:endParaRPr lang="en-GB"/>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619" y="1644653"/>
            <a:ext cx="2443480" cy="4061090"/>
          </a:xfrm>
        </p:spPr>
        <p:txBody>
          <a:bodyPr/>
          <a:lstStyle>
            <a:lvl4pPr>
              <a:defRPr sz="449"/>
            </a:lvl4pPr>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4056592" y="5388899"/>
            <a:ext cx="7332029"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4056592" y="536905"/>
            <a:ext cx="7332029" cy="4851994"/>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E7D9B79D-FD5C-45BD-97EA-6B24E7C0045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1E666E0-9E5A-4A77-8B2D-91C35C22746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2EEB1991-01A7-4A1C-9C66-872C05E5583D}" type="datetime1">
              <a:rPr lang="en-GB" smtClean="0"/>
              <a:t>20/06/2024</a:t>
            </a:fld>
            <a:endParaRPr lang="en-GB"/>
          </a:p>
        </p:txBody>
      </p:sp>
    </p:spTree>
    <p:extLst>
      <p:ext uri="{BB962C8B-B14F-4D97-AF65-F5344CB8AC3E}">
        <p14:creationId xmlns:p14="http://schemas.microsoft.com/office/powerpoint/2010/main" val="1730012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411269-BEE2-492E-A6F4-24EC4E0745B3}"/>
              </a:ext>
            </a:extLst>
          </p:cNvPr>
          <p:cNvGraphicFramePr>
            <a:graphicFrameLocks noChangeAspect="1"/>
          </p:cNvGraphicFramePr>
          <p:nvPr userDrawn="1">
            <p:custDataLst>
              <p:tags r:id="rId1"/>
            </p:custDataLst>
            <p:extLst>
              <p:ext uri="{D42A27DB-BD31-4B8C-83A1-F6EECF244321}">
                <p14:modId xmlns:p14="http://schemas.microsoft.com/office/powerpoint/2010/main" val="414237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F411269-BEE2-492E-A6F4-24EC4E074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20-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618" y="452439"/>
            <a:ext cx="10590003" cy="748626"/>
          </a:xfrm>
        </p:spPr>
        <p:txBody>
          <a:bodyPr/>
          <a:lstStyle/>
          <a:p>
            <a:r>
              <a:rPr lang="en-US"/>
              <a:t>Click to edit Master title style</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618" y="1644652"/>
            <a:ext cx="4072467" cy="4062413"/>
          </a:xfrm>
        </p:spPr>
        <p:txBody>
          <a:bodyPr/>
          <a:lstStyle>
            <a:lvl4pPr>
              <a:defRPr sz="449"/>
            </a:lvl4pPr>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85A6CB6-503A-43E4-95E9-49CCA6BE0AA8}"/>
              </a:ext>
            </a:extLst>
          </p:cNvPr>
          <p:cNvSpPr>
            <a:spLocks noGrp="1"/>
          </p:cNvSpPr>
          <p:nvPr>
            <p:ph type="body" sz="quarter" idx="14" hasCustomPrompt="1"/>
          </p:nvPr>
        </p:nvSpPr>
        <p:spPr>
          <a:xfrm>
            <a:off x="5685579" y="5388899"/>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7" name="Footer Placeholder 4">
            <a:extLst>
              <a:ext uri="{FF2B5EF4-FFF2-40B4-BE49-F238E27FC236}">
                <a16:creationId xmlns:a16="http://schemas.microsoft.com/office/drawing/2014/main" id="{5BE177DB-3D97-4178-B41E-C5E88E6EF6FE}"/>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A29EE775-E260-4614-9C8B-28623B33C6B7}"/>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310C8F63-746D-49AA-89DD-F720C3C3E8E3}" type="datetime1">
              <a:rPr lang="en-GB" smtClean="0"/>
              <a:t>20/06/2024</a:t>
            </a:fld>
            <a:endParaRPr lang="en-GB"/>
          </a:p>
        </p:txBody>
      </p:sp>
    </p:spTree>
    <p:extLst>
      <p:ext uri="{BB962C8B-B14F-4D97-AF65-F5344CB8AC3E}">
        <p14:creationId xmlns:p14="http://schemas.microsoft.com/office/powerpoint/2010/main" val="273904435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2443480" cy="3744247"/>
          </a:xfrm>
          <a:solidFill>
            <a:srgbClr val="F6F6F4"/>
          </a:solidFill>
        </p:spPr>
        <p:txBody>
          <a:bodyPr tIns="0" anchor="t" anchorCtr="0"/>
          <a:lstStyle>
            <a:lvl1pPr marL="0" indent="0">
              <a:buNone/>
              <a:defRPr/>
            </a:lvl1pPr>
          </a:lstStyle>
          <a:p>
            <a:r>
              <a:rPr lang="en-GB" noProof="0"/>
              <a:t>Mark placeholder to insert image</a:t>
            </a:r>
          </a:p>
        </p:txBody>
      </p:sp>
      <p:sp>
        <p:nvSpPr>
          <p:cNvPr id="3" name="Title 2">
            <a:extLst>
              <a:ext uri="{FF2B5EF4-FFF2-40B4-BE49-F238E27FC236}">
                <a16:creationId xmlns:a16="http://schemas.microsoft.com/office/drawing/2014/main" id="{D10A7420-B42B-4A1E-801C-58F73E98E720}"/>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EE94D7C6-6298-49CF-9E54-6442A65BE7EB}"/>
              </a:ext>
            </a:extLst>
          </p:cNvPr>
          <p:cNvSpPr>
            <a:spLocks noGrp="1"/>
          </p:cNvSpPr>
          <p:nvPr>
            <p:ph idx="1" hasCustomPrompt="1"/>
          </p:nvPr>
        </p:nvSpPr>
        <p:spPr>
          <a:xfrm>
            <a:off x="4056592" y="1644652"/>
            <a:ext cx="7332029"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6C9629C-CF41-41C8-B234-06D2B62B588B}"/>
              </a:ext>
            </a:extLst>
          </p:cNvPr>
          <p:cNvSpPr>
            <a:spLocks noGrp="1"/>
          </p:cNvSpPr>
          <p:nvPr>
            <p:ph type="body" sz="quarter" idx="14" hasCustomPrompt="1"/>
          </p:nvPr>
        </p:nvSpPr>
        <p:spPr>
          <a:xfrm>
            <a:off x="797029" y="5388899"/>
            <a:ext cx="2445068"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F72ED723-2034-4873-8F5F-84CD3DF067D2}"/>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70AABF26-1E97-4163-9AEB-8A08056A2CF2}"/>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07D9B8B2-2B26-4659-AFD3-8F852FE9A4D5}" type="datetime1">
              <a:rPr lang="en-GB" smtClean="0"/>
              <a:t>20/06/2024</a:t>
            </a:fld>
            <a:endParaRPr lang="en-GB"/>
          </a:p>
        </p:txBody>
      </p:sp>
    </p:spTree>
    <p:extLst>
      <p:ext uri="{BB962C8B-B14F-4D97-AF65-F5344CB8AC3E}">
        <p14:creationId xmlns:p14="http://schemas.microsoft.com/office/powerpoint/2010/main" val="23184147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One 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7" y="536906"/>
            <a:ext cx="10590003" cy="4851993"/>
          </a:xfrm>
          <a:solidFill>
            <a:srgbClr val="F6F6F4"/>
          </a:solidFill>
        </p:spPr>
        <p:txBody>
          <a:bodyPr tIns="0" anchor="t" anchorCtr="0"/>
          <a:lstStyle>
            <a:lvl1pPr>
              <a:buNone/>
              <a:defRPr/>
            </a:lvl1pPr>
          </a:lstStyle>
          <a:p>
            <a:r>
              <a:rPr lang="en-GB" noProof="0"/>
              <a:t>Mark placeholder to insert image</a:t>
            </a:r>
          </a:p>
        </p:txBody>
      </p:sp>
      <p:sp>
        <p:nvSpPr>
          <p:cNvPr id="4" name="Title 1"/>
          <p:cNvSpPr>
            <a:spLocks noGrp="1"/>
          </p:cNvSpPr>
          <p:nvPr>
            <p:ph type="title"/>
          </p:nvPr>
        </p:nvSpPr>
        <p:spPr>
          <a:xfrm>
            <a:off x="1613111" y="906489"/>
            <a:ext cx="3257974" cy="2157549"/>
          </a:xfrm>
        </p:spPr>
        <p:txBody>
          <a:bodyPr/>
          <a:lstStyle/>
          <a:p>
            <a:r>
              <a:rPr lang="en-US"/>
              <a:t>Click to edit Master title style</a:t>
            </a:r>
            <a:endParaRPr lang="en-GB"/>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797030" y="5388899"/>
            <a:ext cx="1059159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040854D9-4A7F-43DD-ADEE-729ECE38A71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3B009AD-71AF-4311-AB8D-836DCA3740C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2D02C2F-C8D1-4CA6-BC85-74B401D907FB}" type="datetime1">
              <a:rPr lang="en-GB" smtClean="0"/>
              <a:t>20/06/2024</a:t>
            </a:fld>
            <a:endParaRPr lang="en-GB"/>
          </a:p>
        </p:txBody>
      </p:sp>
    </p:spTree>
    <p:extLst>
      <p:ext uri="{BB962C8B-B14F-4D97-AF65-F5344CB8AC3E}">
        <p14:creationId xmlns:p14="http://schemas.microsoft.com/office/powerpoint/2010/main" val="26258483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A48E567-47F5-4B08-99D6-069385ECECE3}"/>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E3950CBF-72E1-4385-99DA-211C9A719C86}"/>
              </a:ext>
            </a:extLst>
          </p:cNvPr>
          <p:cNvSpPr>
            <a:spLocks noGrp="1"/>
          </p:cNvSpPr>
          <p:nvPr>
            <p:ph type="body" sz="quarter" idx="18" hasCustomPrompt="1"/>
          </p:nvPr>
        </p:nvSpPr>
        <p:spPr>
          <a:xfrm>
            <a:off x="797030" y="5387834"/>
            <a:ext cx="4074055"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5" name="Text Placeholder 4">
            <a:extLst>
              <a:ext uri="{FF2B5EF4-FFF2-40B4-BE49-F238E27FC236}">
                <a16:creationId xmlns:a16="http://schemas.microsoft.com/office/drawing/2014/main" id="{45D561B5-A7F3-463C-BD8C-C2813F3D379D}"/>
              </a:ext>
            </a:extLst>
          </p:cNvPr>
          <p:cNvSpPr>
            <a:spLocks noGrp="1"/>
          </p:cNvSpPr>
          <p:nvPr>
            <p:ph type="body" sz="quarter" idx="19" hasCustomPrompt="1"/>
          </p:nvPr>
        </p:nvSpPr>
        <p:spPr>
          <a:xfrm>
            <a:off x="5685579" y="5387836"/>
            <a:ext cx="5703042"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798618" y="1644653"/>
            <a:ext cx="4072467" cy="3743181"/>
          </a:xfrm>
          <a:solidFill>
            <a:srgbClr val="F6F6F4"/>
          </a:solidFill>
        </p:spPr>
        <p:txBody>
          <a:bodyPr tIns="0" anchor="t" anchorCtr="0"/>
          <a:lstStyle>
            <a:lvl1pPr>
              <a:buNone/>
              <a:defRPr/>
            </a:lvl1pPr>
          </a:lstStyle>
          <a:p>
            <a:r>
              <a:rPr lang="en-GB" noProof="0"/>
              <a:t>Mark placeholder to insert imag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8" name="Footer Placeholder 4">
            <a:extLst>
              <a:ext uri="{FF2B5EF4-FFF2-40B4-BE49-F238E27FC236}">
                <a16:creationId xmlns:a16="http://schemas.microsoft.com/office/drawing/2014/main" id="{C5F701B6-51A4-429E-BAE7-303D346C10A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2" name="Date_DateCustomA">
            <a:extLst>
              <a:ext uri="{FF2B5EF4-FFF2-40B4-BE49-F238E27FC236}">
                <a16:creationId xmlns:a16="http://schemas.microsoft.com/office/drawing/2014/main" id="{AF6FCEB8-934A-4A77-A838-C33FC03CC5F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317641B-8A6E-4000-8D18-8C26E74C5E0D}" type="datetime1">
              <a:rPr lang="en-GB" smtClean="0"/>
              <a:t>20/06/2024</a:t>
            </a:fld>
            <a:endParaRPr lang="en-GB"/>
          </a:p>
        </p:txBody>
      </p:sp>
    </p:spTree>
    <p:extLst>
      <p:ext uri="{BB962C8B-B14F-4D97-AF65-F5344CB8AC3E}">
        <p14:creationId xmlns:p14="http://schemas.microsoft.com/office/powerpoint/2010/main" val="240273826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images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8144935" cy="3744247"/>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6"/>
            <a:ext cx="8144935"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Picture Placeholder 3">
            <a:extLst>
              <a:ext uri="{FF2B5EF4-FFF2-40B4-BE49-F238E27FC236}">
                <a16:creationId xmlns:a16="http://schemas.microsoft.com/office/drawing/2014/main" id="{89424118-58CD-42CA-86D2-8D172442E460}"/>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buNone/>
              <a:defRPr/>
            </a:lvl1pPr>
          </a:lstStyle>
          <a:p>
            <a:r>
              <a:rPr lang="en-GB" noProof="0"/>
              <a:t>Mark placeholder to insert image</a:t>
            </a:r>
          </a:p>
        </p:txBody>
      </p:sp>
      <p:sp>
        <p:nvSpPr>
          <p:cNvPr id="8" name="Text Placeholder 4">
            <a:extLst>
              <a:ext uri="{FF2B5EF4-FFF2-40B4-BE49-F238E27FC236}">
                <a16:creationId xmlns:a16="http://schemas.microsoft.com/office/drawing/2014/main" id="{45AEC6E4-C3EF-4192-856D-9039F171C484}"/>
              </a:ext>
            </a:extLst>
          </p:cNvPr>
          <p:cNvSpPr>
            <a:spLocks noGrp="1"/>
          </p:cNvSpPr>
          <p:nvPr>
            <p:ph type="body" sz="quarter" idx="19" hasCustomPrompt="1"/>
          </p:nvPr>
        </p:nvSpPr>
        <p:spPr>
          <a:xfrm>
            <a:off x="9758046" y="5387836"/>
            <a:ext cx="1630575"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1" name="Footer Placeholder 4">
            <a:extLst>
              <a:ext uri="{FF2B5EF4-FFF2-40B4-BE49-F238E27FC236}">
                <a16:creationId xmlns:a16="http://schemas.microsoft.com/office/drawing/2014/main" id="{C5D31929-EC68-4BA9-818F-D9E7F43918E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4" name="Date_DateCustomA">
            <a:extLst>
              <a:ext uri="{FF2B5EF4-FFF2-40B4-BE49-F238E27FC236}">
                <a16:creationId xmlns:a16="http://schemas.microsoft.com/office/drawing/2014/main" id="{F7836BF7-FD55-405A-874B-61C805C2E3C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49976E51-1FC3-4474-950D-AA48067650FE}" type="datetime1">
              <a:rPr lang="en-GB" smtClean="0"/>
              <a:t>20/06/2024</a:t>
            </a:fld>
            <a:endParaRPr lang="en-GB"/>
          </a:p>
        </p:txBody>
      </p:sp>
    </p:spTree>
    <p:extLst>
      <p:ext uri="{BB962C8B-B14F-4D97-AF65-F5344CB8AC3E}">
        <p14:creationId xmlns:p14="http://schemas.microsoft.com/office/powerpoint/2010/main" val="216596092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images and fac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D88E7-3B12-4449-81F1-3C8219EE77C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9" y="5387836"/>
            <a:ext cx="3257974"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F7D20742-1518-4D1C-84E0-A50DB3F71AB2}"/>
              </a:ext>
            </a:extLst>
          </p:cNvPr>
          <p:cNvSpPr>
            <a:spLocks noGrp="1"/>
          </p:cNvSpPr>
          <p:nvPr>
            <p:ph type="body" sz="quarter" idx="25" hasCustomPrompt="1"/>
          </p:nvPr>
        </p:nvSpPr>
        <p:spPr>
          <a:xfrm>
            <a:off x="4871085" y="5387836"/>
            <a:ext cx="3257974"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3257974" cy="3744247"/>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1085" y="1644650"/>
            <a:ext cx="3257973" cy="3744249"/>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2" name="Text Placeholder 6">
            <a:extLst>
              <a:ext uri="{FF2B5EF4-FFF2-40B4-BE49-F238E27FC236}">
                <a16:creationId xmlns:a16="http://schemas.microsoft.com/office/drawing/2014/main" id="{2AD0405A-0FD7-4F0F-AF7F-B2047DF5CF9E}"/>
              </a:ext>
            </a:extLst>
          </p:cNvPr>
          <p:cNvSpPr>
            <a:spLocks noGrp="1"/>
          </p:cNvSpPr>
          <p:nvPr>
            <p:ph type="body" sz="quarter" idx="15" hasCustomPrompt="1"/>
          </p:nvPr>
        </p:nvSpPr>
        <p:spPr>
          <a:xfrm>
            <a:off x="8943552" y="1644391"/>
            <a:ext cx="244506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Footer Placeholder 4">
            <a:extLst>
              <a:ext uri="{FF2B5EF4-FFF2-40B4-BE49-F238E27FC236}">
                <a16:creationId xmlns:a16="http://schemas.microsoft.com/office/drawing/2014/main" id="{918E1753-D849-4306-90F0-AE9E3B1E439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6" name="Date_DateCustomA">
            <a:extLst>
              <a:ext uri="{FF2B5EF4-FFF2-40B4-BE49-F238E27FC236}">
                <a16:creationId xmlns:a16="http://schemas.microsoft.com/office/drawing/2014/main" id="{4824DA6C-1660-454E-AE9F-DA89A04C5D0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19B1F6A8-6B7A-461C-8C18-9117AB04685F}" type="datetime1">
              <a:rPr lang="en-GB" smtClean="0"/>
              <a:t>20/06/2024</a:t>
            </a:fld>
            <a:endParaRPr lang="en-GB"/>
          </a:p>
        </p:txBody>
      </p:sp>
    </p:spTree>
    <p:extLst>
      <p:ext uri="{BB962C8B-B14F-4D97-AF65-F5344CB8AC3E}">
        <p14:creationId xmlns:p14="http://schemas.microsoft.com/office/powerpoint/2010/main" val="18237374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A0290B9-8984-4B63-9584-E3AE12BC8408}"/>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6"/>
            <a:ext cx="4886961"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A7ABCE10-41F5-4BFF-B780-36E38A40F95C}"/>
              </a:ext>
            </a:extLst>
          </p:cNvPr>
          <p:cNvSpPr>
            <a:spLocks noGrp="1"/>
          </p:cNvSpPr>
          <p:nvPr>
            <p:ph type="body" sz="quarter" idx="25" hasCustomPrompt="1"/>
          </p:nvPr>
        </p:nvSpPr>
        <p:spPr>
          <a:xfrm>
            <a:off x="6500070" y="5387835"/>
            <a:ext cx="2443482" cy="317908"/>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5" name="Text Placeholder 5">
            <a:extLst>
              <a:ext uri="{FF2B5EF4-FFF2-40B4-BE49-F238E27FC236}">
                <a16:creationId xmlns:a16="http://schemas.microsoft.com/office/drawing/2014/main" id="{6B139212-6CFC-41D2-8FC4-04AFFFB5F675}"/>
              </a:ext>
            </a:extLst>
          </p:cNvPr>
          <p:cNvSpPr>
            <a:spLocks noGrp="1"/>
          </p:cNvSpPr>
          <p:nvPr>
            <p:ph type="body" sz="quarter" idx="26" hasCustomPrompt="1"/>
          </p:nvPr>
        </p:nvSpPr>
        <p:spPr>
          <a:xfrm>
            <a:off x="9758046" y="5387836"/>
            <a:ext cx="1630575" cy="317907"/>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4886961"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6500072" y="1644650"/>
            <a:ext cx="2443480" cy="374424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2" name="Footer Placeholder 4">
            <a:extLst>
              <a:ext uri="{FF2B5EF4-FFF2-40B4-BE49-F238E27FC236}">
                <a16:creationId xmlns:a16="http://schemas.microsoft.com/office/drawing/2014/main" id="{5874BC50-6BE9-4C0E-B354-8E1950E1DEC6}"/>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5" name="Date_DateCustomA">
            <a:extLst>
              <a:ext uri="{FF2B5EF4-FFF2-40B4-BE49-F238E27FC236}">
                <a16:creationId xmlns:a16="http://schemas.microsoft.com/office/drawing/2014/main" id="{A27BE1DC-8318-4E12-A678-697DBD2158D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670B47BD-1B93-49E8-8F1A-50F28146FAEE}" type="datetime1">
              <a:rPr lang="en-GB" smtClean="0"/>
              <a:t>20/06/2024</a:t>
            </a:fld>
            <a:endParaRPr lang="en-GB"/>
          </a:p>
        </p:txBody>
      </p:sp>
    </p:spTree>
    <p:extLst>
      <p:ext uri="{BB962C8B-B14F-4D97-AF65-F5344CB8AC3E}">
        <p14:creationId xmlns:p14="http://schemas.microsoft.com/office/powerpoint/2010/main" val="47863326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images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9AAF93-6D36-4195-82B9-DF0720EC521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5"/>
            <a:ext cx="5701454"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3E2CB951-B63B-4713-9C55-151E8F70764A}"/>
              </a:ext>
            </a:extLst>
          </p:cNvPr>
          <p:cNvSpPr>
            <a:spLocks noGrp="1"/>
          </p:cNvSpPr>
          <p:nvPr>
            <p:ph type="body" sz="quarter" idx="25" hasCustomPrompt="1"/>
          </p:nvPr>
        </p:nvSpPr>
        <p:spPr>
          <a:xfrm>
            <a:off x="7314564" y="5387835"/>
            <a:ext cx="1628988"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2" name="Text Placeholder 5">
            <a:extLst>
              <a:ext uri="{FF2B5EF4-FFF2-40B4-BE49-F238E27FC236}">
                <a16:creationId xmlns:a16="http://schemas.microsoft.com/office/drawing/2014/main" id="{4ABF96D0-72C6-404F-8711-EC888AA24B29}"/>
              </a:ext>
            </a:extLst>
          </p:cNvPr>
          <p:cNvSpPr>
            <a:spLocks noGrp="1"/>
          </p:cNvSpPr>
          <p:nvPr>
            <p:ph type="body" sz="quarter" idx="26" hasCustomPrompt="1"/>
          </p:nvPr>
        </p:nvSpPr>
        <p:spPr>
          <a:xfrm>
            <a:off x="9758046" y="5387835"/>
            <a:ext cx="1630575"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702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0"/>
            <a:ext cx="1628988" cy="3744249"/>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3" name="Footer Placeholder 4">
            <a:extLst>
              <a:ext uri="{FF2B5EF4-FFF2-40B4-BE49-F238E27FC236}">
                <a16:creationId xmlns:a16="http://schemas.microsoft.com/office/drawing/2014/main" id="{B6ABE9CB-A3E8-48D2-82D8-BB162FBC2ACE}"/>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6" name="Date_DateCustomA">
            <a:extLst>
              <a:ext uri="{FF2B5EF4-FFF2-40B4-BE49-F238E27FC236}">
                <a16:creationId xmlns:a16="http://schemas.microsoft.com/office/drawing/2014/main" id="{F8AC17EF-756D-46C0-9E6D-5F5BC146218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8217C0B-9033-4A97-8B9B-43B4113B467B}" type="datetime1">
              <a:rPr lang="en-GB" smtClean="0"/>
              <a:t>20/06/2024</a:t>
            </a:fld>
            <a:endParaRPr lang="en-GB"/>
          </a:p>
        </p:txBody>
      </p:sp>
    </p:spTree>
    <p:extLst>
      <p:ext uri="{BB962C8B-B14F-4D97-AF65-F5344CB8AC3E}">
        <p14:creationId xmlns:p14="http://schemas.microsoft.com/office/powerpoint/2010/main" val="57953887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images (A)">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23A1CA0-6B95-4682-8F2B-A2CB29E9A06F}"/>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29" y="5387835"/>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7F8FEFC5-5B98-4110-A017-739F63CE87B2}"/>
              </a:ext>
            </a:extLst>
          </p:cNvPr>
          <p:cNvSpPr>
            <a:spLocks noGrp="1"/>
          </p:cNvSpPr>
          <p:nvPr>
            <p:ph type="body" sz="quarter" idx="25" hasCustomPrompt="1"/>
          </p:nvPr>
        </p:nvSpPr>
        <p:spPr>
          <a:xfrm>
            <a:off x="7314565" y="5387835"/>
            <a:ext cx="162898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3" name="Text Placeholder 5">
            <a:extLst>
              <a:ext uri="{FF2B5EF4-FFF2-40B4-BE49-F238E27FC236}">
                <a16:creationId xmlns:a16="http://schemas.microsoft.com/office/drawing/2014/main" id="{EED6E484-ADE4-491D-A306-116A904F4278}"/>
              </a:ext>
            </a:extLst>
          </p:cNvPr>
          <p:cNvSpPr>
            <a:spLocks noGrp="1"/>
          </p:cNvSpPr>
          <p:nvPr>
            <p:ph type="body" sz="quarter" idx="26" hasCustomPrompt="1"/>
          </p:nvPr>
        </p:nvSpPr>
        <p:spPr>
          <a:xfrm>
            <a:off x="9758046" y="3144372"/>
            <a:ext cx="1630575"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5" name="Text Placeholder 6">
            <a:extLst>
              <a:ext uri="{FF2B5EF4-FFF2-40B4-BE49-F238E27FC236}">
                <a16:creationId xmlns:a16="http://schemas.microsoft.com/office/drawing/2014/main" id="{1D494126-0696-4DB9-B563-2B5C9722422F}"/>
              </a:ext>
            </a:extLst>
          </p:cNvPr>
          <p:cNvSpPr>
            <a:spLocks noGrp="1"/>
          </p:cNvSpPr>
          <p:nvPr>
            <p:ph type="body" sz="quarter" idx="27" hasCustomPrompt="1"/>
          </p:nvPr>
        </p:nvSpPr>
        <p:spPr>
          <a:xfrm>
            <a:off x="9758046" y="5387835"/>
            <a:ext cx="1630575"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6" y="1644650"/>
            <a:ext cx="1628987" cy="374424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148352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6" y="3905375"/>
            <a:ext cx="1630575" cy="148352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5" name="Footer Placeholder 4">
            <a:extLst>
              <a:ext uri="{FF2B5EF4-FFF2-40B4-BE49-F238E27FC236}">
                <a16:creationId xmlns:a16="http://schemas.microsoft.com/office/drawing/2014/main" id="{4567020D-E32F-49AD-ADAE-9E64ADBB8FDF}"/>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8" name="Date_DateCustomA">
            <a:extLst>
              <a:ext uri="{FF2B5EF4-FFF2-40B4-BE49-F238E27FC236}">
                <a16:creationId xmlns:a16="http://schemas.microsoft.com/office/drawing/2014/main" id="{32279A45-1217-4472-8344-3C0A19130A7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93200B9-2419-488B-B3B4-69557D1FB50C}" type="datetime1">
              <a:rPr lang="en-GB" smtClean="0"/>
              <a:t>20/06/2024</a:t>
            </a:fld>
            <a:endParaRPr lang="en-GB"/>
          </a:p>
        </p:txBody>
      </p:sp>
    </p:spTree>
    <p:extLst>
      <p:ext uri="{BB962C8B-B14F-4D97-AF65-F5344CB8AC3E}">
        <p14:creationId xmlns:p14="http://schemas.microsoft.com/office/powerpoint/2010/main" val="8196401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images (B)">
    <p:spTree>
      <p:nvGrpSpPr>
        <p:cNvPr id="1" name=""/>
        <p:cNvGrpSpPr/>
        <p:nvPr/>
      </p:nvGrpSpPr>
      <p:grpSpPr>
        <a:xfrm>
          <a:off x="0" y="0"/>
          <a:ext cx="0" cy="0"/>
          <a:chOff x="0" y="0"/>
          <a:chExt cx="0" cy="0"/>
        </a:xfrm>
      </p:grpSpPr>
      <p:sp>
        <p:nvSpPr>
          <p:cNvPr id="17" name="Title 7">
            <a:extLst>
              <a:ext uri="{FF2B5EF4-FFF2-40B4-BE49-F238E27FC236}">
                <a16:creationId xmlns:a16="http://schemas.microsoft.com/office/drawing/2014/main" id="{6DA88F43-D409-4504-A063-DA4B451A4720}"/>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31" y="5387836"/>
            <a:ext cx="5703042"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A1F7B2BE-FFF8-4897-A35A-DDFEEB4911B6}"/>
              </a:ext>
            </a:extLst>
          </p:cNvPr>
          <p:cNvSpPr>
            <a:spLocks noGrp="1"/>
          </p:cNvSpPr>
          <p:nvPr>
            <p:ph type="body" sz="quarter" idx="25" hasCustomPrompt="1"/>
          </p:nvPr>
        </p:nvSpPr>
        <p:spPr>
          <a:xfrm>
            <a:off x="7314564" y="3145672"/>
            <a:ext cx="407405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1"/>
            <a:ext cx="4074057" cy="1483526"/>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3" name="Text Placeholder 5">
            <a:extLst>
              <a:ext uri="{FF2B5EF4-FFF2-40B4-BE49-F238E27FC236}">
                <a16:creationId xmlns:a16="http://schemas.microsoft.com/office/drawing/2014/main" id="{735B3C8D-4ACE-428F-8AD3-7A13F1213FD2}"/>
              </a:ext>
            </a:extLst>
          </p:cNvPr>
          <p:cNvSpPr>
            <a:spLocks noGrp="1"/>
          </p:cNvSpPr>
          <p:nvPr>
            <p:ph type="body" sz="quarter" idx="26" hasCustomPrompt="1"/>
          </p:nvPr>
        </p:nvSpPr>
        <p:spPr>
          <a:xfrm>
            <a:off x="7314566" y="5387835"/>
            <a:ext cx="1628987"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5" name="Text Placeholder 6">
            <a:extLst>
              <a:ext uri="{FF2B5EF4-FFF2-40B4-BE49-F238E27FC236}">
                <a16:creationId xmlns:a16="http://schemas.microsoft.com/office/drawing/2014/main" id="{C7A95160-7865-47B1-BBD0-32DA9C96FEC4}"/>
              </a:ext>
            </a:extLst>
          </p:cNvPr>
          <p:cNvSpPr>
            <a:spLocks noGrp="1"/>
          </p:cNvSpPr>
          <p:nvPr>
            <p:ph type="body" sz="quarter" idx="27" hasCustomPrompt="1"/>
          </p:nvPr>
        </p:nvSpPr>
        <p:spPr>
          <a:xfrm>
            <a:off x="9758044" y="5387835"/>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6" y="3905375"/>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4" y="3905375"/>
            <a:ext cx="1630576" cy="1483526"/>
          </a:xfrm>
          <a:solidFill>
            <a:srgbClr val="F6F6F4"/>
          </a:solidFill>
        </p:spPr>
        <p:txBody>
          <a:bodyPr tIns="0" anchor="t" anchorCtr="0"/>
          <a:lstStyle>
            <a:lvl1pPr marL="0" indent="0">
              <a:buNone/>
              <a:defRPr/>
            </a:lvl1pPr>
          </a:lstStyle>
          <a:p>
            <a:r>
              <a:rPr lang="en-GB" noProof="0"/>
              <a:t>Mark placeholder to insert image</a:t>
            </a:r>
          </a:p>
        </p:txBody>
      </p:sp>
      <p:sp>
        <p:nvSpPr>
          <p:cNvPr id="19" name="Footer Placeholder 4">
            <a:extLst>
              <a:ext uri="{FF2B5EF4-FFF2-40B4-BE49-F238E27FC236}">
                <a16:creationId xmlns:a16="http://schemas.microsoft.com/office/drawing/2014/main" id="{651A90D8-504E-4DC5-901B-5180BA0DE16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1" name="Date_DateCustomA">
            <a:extLst>
              <a:ext uri="{FF2B5EF4-FFF2-40B4-BE49-F238E27FC236}">
                <a16:creationId xmlns:a16="http://schemas.microsoft.com/office/drawing/2014/main" id="{C64ACC7F-7EC9-4D88-B2D9-4BD783C75A0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36191CC-81E4-40E2-A3EA-FD9630412644}" type="datetime1">
              <a:rPr lang="en-GB" smtClean="0"/>
              <a:t>20/06/2024</a:t>
            </a:fld>
            <a:endParaRPr lang="en-GB"/>
          </a:p>
        </p:txBody>
      </p:sp>
    </p:spTree>
    <p:extLst>
      <p:ext uri="{BB962C8B-B14F-4D97-AF65-F5344CB8AC3E}">
        <p14:creationId xmlns:p14="http://schemas.microsoft.com/office/powerpoint/2010/main" val="3890590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92B2C7-5E53-4EA1-BAD0-D814DF20E580}"/>
              </a:ext>
            </a:extLst>
          </p:cNvPr>
          <p:cNvGraphicFramePr>
            <a:graphicFrameLocks noChangeAspect="1"/>
          </p:cNvGraphicFramePr>
          <p:nvPr userDrawn="1">
            <p:custDataLst>
              <p:tags r:id="rId1"/>
            </p:custDataLst>
            <p:extLst>
              <p:ext uri="{D42A27DB-BD31-4B8C-83A1-F6EECF244321}">
                <p14:modId xmlns:p14="http://schemas.microsoft.com/office/powerpoint/2010/main" val="132964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DA92B2C7-5E53-4EA1-BAD0-D814DF20E5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20-06-2024</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ive images (A)">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31" y="5388899"/>
            <a:ext cx="5703042" cy="316843"/>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0" name="Text Placeholder 4">
            <a:extLst>
              <a:ext uri="{FF2B5EF4-FFF2-40B4-BE49-F238E27FC236}">
                <a16:creationId xmlns:a16="http://schemas.microsoft.com/office/drawing/2014/main" id="{42DF0A72-5AF0-4ACE-B2DB-4155F465E0B5}"/>
              </a:ext>
            </a:extLst>
          </p:cNvPr>
          <p:cNvSpPr>
            <a:spLocks noGrp="1"/>
          </p:cNvSpPr>
          <p:nvPr>
            <p:ph type="body" sz="quarter" idx="25" hasCustomPrompt="1"/>
          </p:nvPr>
        </p:nvSpPr>
        <p:spPr>
          <a:xfrm>
            <a:off x="7314564" y="3144193"/>
            <a:ext cx="1628988"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1" name="Text Placeholder 5">
            <a:extLst>
              <a:ext uri="{FF2B5EF4-FFF2-40B4-BE49-F238E27FC236}">
                <a16:creationId xmlns:a16="http://schemas.microsoft.com/office/drawing/2014/main" id="{0F958486-0A01-4664-898B-849018028B9C}"/>
              </a:ext>
            </a:extLst>
          </p:cNvPr>
          <p:cNvSpPr>
            <a:spLocks noGrp="1"/>
          </p:cNvSpPr>
          <p:nvPr>
            <p:ph type="body" sz="quarter" idx="26" hasCustomPrompt="1"/>
          </p:nvPr>
        </p:nvSpPr>
        <p:spPr>
          <a:xfrm>
            <a:off x="7314564" y="5387953"/>
            <a:ext cx="1628988"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22" name="Text Placeholder 6">
            <a:extLst>
              <a:ext uri="{FF2B5EF4-FFF2-40B4-BE49-F238E27FC236}">
                <a16:creationId xmlns:a16="http://schemas.microsoft.com/office/drawing/2014/main" id="{72AE0D8A-202F-43F6-AB72-839F68F575A8}"/>
              </a:ext>
            </a:extLst>
          </p:cNvPr>
          <p:cNvSpPr>
            <a:spLocks noGrp="1"/>
          </p:cNvSpPr>
          <p:nvPr>
            <p:ph type="body" sz="quarter" idx="27" hasCustomPrompt="1"/>
          </p:nvPr>
        </p:nvSpPr>
        <p:spPr>
          <a:xfrm>
            <a:off x="9758044" y="3144193"/>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5" name="Text Placeholder 7">
            <a:extLst>
              <a:ext uri="{FF2B5EF4-FFF2-40B4-BE49-F238E27FC236}">
                <a16:creationId xmlns:a16="http://schemas.microsoft.com/office/drawing/2014/main" id="{553D49DA-A17B-44D7-8EBB-64C685A23079}"/>
              </a:ext>
            </a:extLst>
          </p:cNvPr>
          <p:cNvSpPr>
            <a:spLocks noGrp="1"/>
          </p:cNvSpPr>
          <p:nvPr>
            <p:ph type="body" sz="quarter" idx="28" hasCustomPrompt="1"/>
          </p:nvPr>
        </p:nvSpPr>
        <p:spPr>
          <a:xfrm>
            <a:off x="9758044" y="5387953"/>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1"/>
            <a:ext cx="1628988" cy="1483526"/>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4" y="3905375"/>
            <a:ext cx="1628988" cy="1483526"/>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4" y="1644652"/>
            <a:ext cx="1630576"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5" y="3905375"/>
            <a:ext cx="1630575" cy="1483526"/>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5" name="Title 7">
            <a:extLst>
              <a:ext uri="{FF2B5EF4-FFF2-40B4-BE49-F238E27FC236}">
                <a16:creationId xmlns:a16="http://schemas.microsoft.com/office/drawing/2014/main" id="{109E8909-9BF2-426F-A556-859081C99CF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7" name="Footer Placeholder 4">
            <a:extLst>
              <a:ext uri="{FF2B5EF4-FFF2-40B4-BE49-F238E27FC236}">
                <a16:creationId xmlns:a16="http://schemas.microsoft.com/office/drawing/2014/main" id="{89EC51AE-5F71-4517-A9E0-7E30DE0DEAE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3" name="Date_DateCustomA">
            <a:extLst>
              <a:ext uri="{FF2B5EF4-FFF2-40B4-BE49-F238E27FC236}">
                <a16:creationId xmlns:a16="http://schemas.microsoft.com/office/drawing/2014/main" id="{9986C71A-FB30-4BC3-80B0-20BC5417034B}"/>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178DCDE-D1A1-4EB4-8F09-37541DFBB130}" type="datetime1">
              <a:rPr lang="en-GB" smtClean="0"/>
              <a:t>20/06/2024</a:t>
            </a:fld>
            <a:endParaRPr lang="en-GB"/>
          </a:p>
        </p:txBody>
      </p:sp>
    </p:spTree>
    <p:extLst>
      <p:ext uri="{BB962C8B-B14F-4D97-AF65-F5344CB8AC3E}">
        <p14:creationId xmlns:p14="http://schemas.microsoft.com/office/powerpoint/2010/main" val="97436111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ive images (B)">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29" y="5387953"/>
            <a:ext cx="325956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5" name="Text Placeholder 4">
            <a:extLst>
              <a:ext uri="{FF2B5EF4-FFF2-40B4-BE49-F238E27FC236}">
                <a16:creationId xmlns:a16="http://schemas.microsoft.com/office/drawing/2014/main" id="{F02B0B2F-7F53-4AFC-9446-DB6C5777E698}"/>
              </a:ext>
            </a:extLst>
          </p:cNvPr>
          <p:cNvSpPr>
            <a:spLocks noGrp="1"/>
          </p:cNvSpPr>
          <p:nvPr>
            <p:ph type="body" sz="quarter" idx="27" hasCustomPrompt="1"/>
          </p:nvPr>
        </p:nvSpPr>
        <p:spPr>
          <a:xfrm>
            <a:off x="4875849" y="3145672"/>
            <a:ext cx="648677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0" name="Text Placeholder 5">
            <a:extLst>
              <a:ext uri="{FF2B5EF4-FFF2-40B4-BE49-F238E27FC236}">
                <a16:creationId xmlns:a16="http://schemas.microsoft.com/office/drawing/2014/main" id="{0662756F-E3F0-402D-9E22-0BE6B392C8C9}"/>
              </a:ext>
            </a:extLst>
          </p:cNvPr>
          <p:cNvSpPr>
            <a:spLocks noGrp="1"/>
          </p:cNvSpPr>
          <p:nvPr>
            <p:ph type="body" sz="quarter" idx="28" hasCustomPrompt="1"/>
          </p:nvPr>
        </p:nvSpPr>
        <p:spPr>
          <a:xfrm>
            <a:off x="4871086" y="5387953"/>
            <a:ext cx="1625811"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21" name="Text Placeholder 6">
            <a:extLst>
              <a:ext uri="{FF2B5EF4-FFF2-40B4-BE49-F238E27FC236}">
                <a16:creationId xmlns:a16="http://schemas.microsoft.com/office/drawing/2014/main" id="{BE7208CB-CE86-4F3D-B12C-D8268891AA47}"/>
              </a:ext>
            </a:extLst>
          </p:cNvPr>
          <p:cNvSpPr>
            <a:spLocks noGrp="1"/>
          </p:cNvSpPr>
          <p:nvPr>
            <p:ph type="body" sz="quarter" idx="29" hasCustomPrompt="1"/>
          </p:nvPr>
        </p:nvSpPr>
        <p:spPr>
          <a:xfrm>
            <a:off x="7314566" y="5387953"/>
            <a:ext cx="162898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22" name="Text Placeholder 7">
            <a:extLst>
              <a:ext uri="{FF2B5EF4-FFF2-40B4-BE49-F238E27FC236}">
                <a16:creationId xmlns:a16="http://schemas.microsoft.com/office/drawing/2014/main" id="{06E02B92-F862-4F76-B8DC-8C3D1FC7F977}"/>
              </a:ext>
            </a:extLst>
          </p:cNvPr>
          <p:cNvSpPr>
            <a:spLocks noGrp="1"/>
          </p:cNvSpPr>
          <p:nvPr>
            <p:ph type="body" sz="quarter" idx="30" hasCustomPrompt="1"/>
          </p:nvPr>
        </p:nvSpPr>
        <p:spPr>
          <a:xfrm>
            <a:off x="9758046" y="5387953"/>
            <a:ext cx="1630575"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3257974" cy="3744247"/>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1085" y="1644651"/>
            <a:ext cx="6517536" cy="1483526"/>
          </a:xfrm>
          <a:solidFill>
            <a:srgbClr val="F6F6F4"/>
          </a:solidFill>
        </p:spPr>
        <p:txBody>
          <a:bodyPr tIns="0" anchor="t" anchorCtr="0"/>
          <a:lstStyle>
            <a:lvl1pPr marL="0" indent="0">
              <a:buNone/>
              <a:defRPr/>
            </a:lvl1pPr>
          </a:lstStyle>
          <a:p>
            <a:r>
              <a:rPr lang="en-GB" noProof="0"/>
              <a:t>Mark placeholder to insert image</a:t>
            </a:r>
          </a:p>
        </p:txBody>
      </p:sp>
      <p:sp>
        <p:nvSpPr>
          <p:cNvPr id="32" name="Picture Placeholder 3">
            <a:extLst>
              <a:ext uri="{FF2B5EF4-FFF2-40B4-BE49-F238E27FC236}">
                <a16:creationId xmlns:a16="http://schemas.microsoft.com/office/drawing/2014/main" id="{BD840AF9-BBF8-4202-BC96-375E5BEB71AA}"/>
              </a:ext>
            </a:extLst>
          </p:cNvPr>
          <p:cNvSpPr>
            <a:spLocks noGrp="1"/>
          </p:cNvSpPr>
          <p:nvPr>
            <p:ph type="pic" sz="quarter" idx="26" hasCustomPrompt="1"/>
          </p:nvPr>
        </p:nvSpPr>
        <p:spPr>
          <a:xfrm>
            <a:off x="4871085" y="3905096"/>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6" y="3905375"/>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5" y="3905375"/>
            <a:ext cx="1630575" cy="1483526"/>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7" name="Title 7">
            <a:extLst>
              <a:ext uri="{FF2B5EF4-FFF2-40B4-BE49-F238E27FC236}">
                <a16:creationId xmlns:a16="http://schemas.microsoft.com/office/drawing/2014/main" id="{299AE5C6-8512-40FE-B386-E39B5659754F}"/>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9" name="Footer Placeholder 4">
            <a:extLst>
              <a:ext uri="{FF2B5EF4-FFF2-40B4-BE49-F238E27FC236}">
                <a16:creationId xmlns:a16="http://schemas.microsoft.com/office/drawing/2014/main" id="{DB9DA6D0-8869-4337-BEAF-0ADAFE06FB4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4" name="Date_DateCustomA">
            <a:extLst>
              <a:ext uri="{FF2B5EF4-FFF2-40B4-BE49-F238E27FC236}">
                <a16:creationId xmlns:a16="http://schemas.microsoft.com/office/drawing/2014/main" id="{A387D7D7-69FC-41FF-BDFD-687A499B6122}"/>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5944EB0A-8F31-4F12-A58B-82FA23A642B9}" type="datetime1">
              <a:rPr lang="en-GB" smtClean="0"/>
              <a:t>20/06/2024</a:t>
            </a:fld>
            <a:endParaRPr lang="en-GB"/>
          </a:p>
        </p:txBody>
      </p:sp>
    </p:spTree>
    <p:extLst>
      <p:ext uri="{BB962C8B-B14F-4D97-AF65-F5344CB8AC3E}">
        <p14:creationId xmlns:p14="http://schemas.microsoft.com/office/powerpoint/2010/main" val="31925310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full slide image">
    <p:spTree>
      <p:nvGrpSpPr>
        <p:cNvPr id="1" name=""/>
        <p:cNvGrpSpPr/>
        <p:nvPr/>
      </p:nvGrpSpPr>
      <p:grpSpPr>
        <a:xfrm>
          <a:off x="0" y="0"/>
          <a:ext cx="0" cy="0"/>
          <a:chOff x="0" y="0"/>
          <a:chExt cx="0" cy="0"/>
        </a:xfrm>
      </p:grpSpPr>
      <p:sp>
        <p:nvSpPr>
          <p:cNvPr id="4" name="Background"/>
          <p:cNvSpPr/>
          <p:nvPr userDrawn="1"/>
        </p:nvSpPr>
        <p:spPr>
          <a:xfrm>
            <a:off x="0" y="1"/>
            <a:ext cx="12191187" cy="685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577"/>
          </a:p>
        </p:txBody>
      </p:sp>
      <p:sp>
        <p:nvSpPr>
          <p:cNvPr id="7" name="Picture Placeholder 5"/>
          <p:cNvSpPr>
            <a:spLocks noGrp="1"/>
          </p:cNvSpPr>
          <p:nvPr>
            <p:ph type="pic" sz="quarter" idx="10" hasCustomPrompt="1"/>
          </p:nvPr>
        </p:nvSpPr>
        <p:spPr>
          <a:xfrm>
            <a:off x="-1" y="0"/>
            <a:ext cx="12194788" cy="6860012"/>
          </a:xfrm>
          <a:solidFill>
            <a:srgbClr val="F6F6F4"/>
          </a:solidFill>
        </p:spPr>
        <p:txBody>
          <a:bodyPr tIns="0" anchor="t" anchorCtr="0"/>
          <a:lstStyle>
            <a:lvl1pPr algn="ctr">
              <a:buNone/>
              <a:defRPr>
                <a:solidFill>
                  <a:schemeClr val="tx1"/>
                </a:solidFill>
              </a:defRPr>
            </a:lvl1pPr>
          </a:lstStyle>
          <a:p>
            <a:r>
              <a:rPr lang="en-GB" noProof="0"/>
              <a:t>Mark placeholder to insert image</a:t>
            </a:r>
          </a:p>
        </p:txBody>
      </p:sp>
      <p:sp>
        <p:nvSpPr>
          <p:cNvPr id="2" name="Title 1"/>
          <p:cNvSpPr>
            <a:spLocks noGrp="1"/>
          </p:cNvSpPr>
          <p:nvPr>
            <p:ph type="title"/>
          </p:nvPr>
        </p:nvSpPr>
        <p:spPr>
          <a:xfrm>
            <a:off x="817035" y="452439"/>
            <a:ext cx="10556574" cy="1056000"/>
          </a:xfrm>
        </p:spPr>
        <p:txBody>
          <a:bodyPr/>
          <a:lstStyle>
            <a:lvl1pPr>
              <a:defRPr>
                <a:solidFill>
                  <a:schemeClr val="tx2"/>
                </a:solidFill>
              </a:defRPr>
            </a:lvl1pPr>
          </a:lstStyle>
          <a:p>
            <a:r>
              <a:rPr lang="en-US" noProof="0"/>
              <a:t>Click to edit Master title style</a:t>
            </a:r>
            <a:endParaRPr lang="en-GB" noProof="0"/>
          </a:p>
        </p:txBody>
      </p:sp>
      <p:sp>
        <p:nvSpPr>
          <p:cNvPr id="9" name="Text Placeholder 15">
            <a:extLst>
              <a:ext uri="{FF2B5EF4-FFF2-40B4-BE49-F238E27FC236}">
                <a16:creationId xmlns:a16="http://schemas.microsoft.com/office/drawing/2014/main" id="{1C804A56-02C2-4000-8DE1-4C682601C756}"/>
              </a:ext>
            </a:extLst>
          </p:cNvPr>
          <p:cNvSpPr>
            <a:spLocks noGrp="1"/>
          </p:cNvSpPr>
          <p:nvPr>
            <p:ph type="body" sz="quarter" idx="12" hasCustomPrompt="1"/>
          </p:nvPr>
        </p:nvSpPr>
        <p:spPr bwMode="auto">
          <a:xfrm>
            <a:off x="798617" y="6158174"/>
            <a:ext cx="1220559" cy="255541"/>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1" name="Slide Number Placeholder 5" hidden="1">
            <a:extLst>
              <a:ext uri="{FF2B5EF4-FFF2-40B4-BE49-F238E27FC236}">
                <a16:creationId xmlns:a16="http://schemas.microsoft.com/office/drawing/2014/main" id="{F8065A6C-B087-4C37-B9BF-238078D124A4}"/>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2" name="Footer Placeholder 4" hidden="1">
            <a:extLst>
              <a:ext uri="{FF2B5EF4-FFF2-40B4-BE49-F238E27FC236}">
                <a16:creationId xmlns:a16="http://schemas.microsoft.com/office/drawing/2014/main" id="{E644527C-AD14-4EB9-ADCA-31C61EBA6546}"/>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3" name="Date_DateCustomA" hidden="1">
            <a:extLst>
              <a:ext uri="{FF2B5EF4-FFF2-40B4-BE49-F238E27FC236}">
                <a16:creationId xmlns:a16="http://schemas.microsoft.com/office/drawing/2014/main" id="{264006B7-F2E6-4F4A-8D05-3F44F8F318B8}"/>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extLst>
      <p:ext uri="{BB962C8B-B14F-4D97-AF65-F5344CB8AC3E}">
        <p14:creationId xmlns:p14="http://schemas.microsoft.com/office/powerpoint/2010/main" val="34765572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3" name="Background"/>
          <p:cNvSpPr/>
          <p:nvPr userDrawn="1"/>
        </p:nvSpPr>
        <p:spPr>
          <a:xfrm>
            <a:off x="0" y="1"/>
            <a:ext cx="12191187" cy="685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577"/>
          </a:p>
        </p:txBody>
      </p:sp>
      <p:sp>
        <p:nvSpPr>
          <p:cNvPr id="6" name="Picture Placeholder 5"/>
          <p:cNvSpPr>
            <a:spLocks noGrp="1"/>
          </p:cNvSpPr>
          <p:nvPr>
            <p:ph type="pic" sz="quarter" idx="10" hasCustomPrompt="1"/>
          </p:nvPr>
        </p:nvSpPr>
        <p:spPr>
          <a:xfrm>
            <a:off x="-1" y="0"/>
            <a:ext cx="12194788" cy="6860012"/>
          </a:xfrm>
          <a:solidFill>
            <a:srgbClr val="F6F6F4"/>
          </a:solidFill>
        </p:spPr>
        <p:txBody>
          <a:bodyPr tIns="0" anchor="t" anchorCtr="0"/>
          <a:lstStyle>
            <a:lvl1pPr marL="0" indent="0" algn="ctr">
              <a:buNone/>
              <a:defRPr baseline="0">
                <a:solidFill>
                  <a:schemeClr val="tx1"/>
                </a:solidFill>
              </a:defRPr>
            </a:lvl1pPr>
          </a:lstStyle>
          <a:p>
            <a:r>
              <a:rPr lang="en-GB" noProof="0"/>
              <a:t>Mark placeholder to insert image</a:t>
            </a:r>
          </a:p>
        </p:txBody>
      </p:sp>
      <p:sp>
        <p:nvSpPr>
          <p:cNvPr id="7" name="Text Placeholder 15">
            <a:extLst>
              <a:ext uri="{FF2B5EF4-FFF2-40B4-BE49-F238E27FC236}">
                <a16:creationId xmlns:a16="http://schemas.microsoft.com/office/drawing/2014/main" id="{D502E4A2-448F-4BE7-8814-15A06BDE1CF9}"/>
              </a:ext>
            </a:extLst>
          </p:cNvPr>
          <p:cNvSpPr>
            <a:spLocks noGrp="1"/>
          </p:cNvSpPr>
          <p:nvPr>
            <p:ph type="body" sz="quarter" idx="12" hasCustomPrompt="1"/>
          </p:nvPr>
        </p:nvSpPr>
        <p:spPr bwMode="auto">
          <a:xfrm>
            <a:off x="798617" y="6158174"/>
            <a:ext cx="1220559" cy="255541"/>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0" name="Slide Number Placeholder 5" hidden="1">
            <a:extLst>
              <a:ext uri="{FF2B5EF4-FFF2-40B4-BE49-F238E27FC236}">
                <a16:creationId xmlns:a16="http://schemas.microsoft.com/office/drawing/2014/main" id="{DB3E8C21-56F3-43EB-BF88-4EEB72C3F75D}"/>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1" name="Footer Placeholder 4" hidden="1">
            <a:extLst>
              <a:ext uri="{FF2B5EF4-FFF2-40B4-BE49-F238E27FC236}">
                <a16:creationId xmlns:a16="http://schemas.microsoft.com/office/drawing/2014/main" id="{35D10A95-9140-4D91-8BAE-655D1782D7D6}"/>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2" name="Date_DateCustomA" hidden="1">
            <a:extLst>
              <a:ext uri="{FF2B5EF4-FFF2-40B4-BE49-F238E27FC236}">
                <a16:creationId xmlns:a16="http://schemas.microsoft.com/office/drawing/2014/main" id="{3FA8083C-E59E-4629-A5C9-D403872552DF}"/>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extLst>
      <p:ext uri="{BB962C8B-B14F-4D97-AF65-F5344CB8AC3E}">
        <p14:creationId xmlns:p14="http://schemas.microsoft.com/office/powerpoint/2010/main" val="373864703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Quot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0" name="Title 1">
            <a:extLst>
              <a:ext uri="{FF2B5EF4-FFF2-40B4-BE49-F238E27FC236}">
                <a16:creationId xmlns:a16="http://schemas.microsoft.com/office/drawing/2014/main" id="{6C267E1F-9146-4D51-A3EA-9E268FC35F7A}"/>
              </a:ext>
            </a:extLst>
          </p:cNvPr>
          <p:cNvSpPr>
            <a:spLocks noGrp="1"/>
          </p:cNvSpPr>
          <p:nvPr>
            <p:ph type="title" hasCustomPrompt="1"/>
          </p:nvPr>
        </p:nvSpPr>
        <p:spPr>
          <a:xfrm>
            <a:off x="798618" y="1945915"/>
            <a:ext cx="7330441" cy="2768684"/>
          </a:xfrm>
        </p:spPr>
        <p:txBody>
          <a:bodyPr/>
          <a:lstStyle>
            <a:lvl1pPr>
              <a:defRPr sz="1026" b="0" cap="none">
                <a:solidFill>
                  <a:schemeClr val="tx1"/>
                </a:solidFill>
              </a:defRPr>
            </a:lvl1pPr>
          </a:lstStyle>
          <a:p>
            <a:r>
              <a:rPr lang="en-GB"/>
              <a:t>Quotation</a:t>
            </a:r>
          </a:p>
        </p:txBody>
      </p:sp>
      <p:sp>
        <p:nvSpPr>
          <p:cNvPr id="26" name="Text Placeholder 5">
            <a:extLst>
              <a:ext uri="{FF2B5EF4-FFF2-40B4-BE49-F238E27FC236}">
                <a16:creationId xmlns:a16="http://schemas.microsoft.com/office/drawing/2014/main" id="{1E1ADCAE-53E0-4B32-A2CA-095078D0C634}"/>
              </a:ext>
            </a:extLst>
          </p:cNvPr>
          <p:cNvSpPr>
            <a:spLocks noGrp="1"/>
          </p:cNvSpPr>
          <p:nvPr>
            <p:ph type="body" sz="quarter" idx="11" hasCustomPrompt="1"/>
          </p:nvPr>
        </p:nvSpPr>
        <p:spPr>
          <a:xfrm>
            <a:off x="796073" y="5018936"/>
            <a:ext cx="7332990" cy="1084011"/>
          </a:xfrm>
        </p:spPr>
        <p:txBody>
          <a:bodyPr lIns="0"/>
          <a:lstStyle>
            <a:lvl1pPr marL="0" indent="0">
              <a:buFont typeface="Arial" panose="020B0604020202020204" pitchFamily="34" charset="0"/>
              <a:buChar char="​"/>
              <a:defRPr sz="513" baseline="0">
                <a:solidFill>
                  <a:schemeClr val="tx1"/>
                </a:solidFill>
              </a:defRPr>
            </a:lvl1pPr>
          </a:lstStyle>
          <a:p>
            <a:pPr lvl="0"/>
            <a:r>
              <a:rPr lang="en-GB"/>
              <a:t>Name, Title</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31421AFA-3AE7-4CEA-BC9B-447859BED57B}" type="slidenum">
              <a:rPr lang="en-GB" smtClean="0"/>
              <a:pPr/>
              <a:t>‹#›</a:t>
            </a:fld>
            <a:endParaRPr lang="en-GB"/>
          </a:p>
        </p:txBody>
      </p:sp>
      <p:sp>
        <p:nvSpPr>
          <p:cNvPr id="6" name="TextBox 5">
            <a:extLst>
              <a:ext uri="{FF2B5EF4-FFF2-40B4-BE49-F238E27FC236}">
                <a16:creationId xmlns:a16="http://schemas.microsoft.com/office/drawing/2014/main" id="{CEE8FF56-E9E6-4CE1-A183-9B907183A27A}"/>
              </a:ext>
            </a:extLst>
          </p:cNvPr>
          <p:cNvSpPr txBox="1"/>
          <p:nvPr userDrawn="1"/>
        </p:nvSpPr>
        <p:spPr bwMode="auto">
          <a:xfrm>
            <a:off x="805542" y="2249831"/>
            <a:ext cx="1671854" cy="2829504"/>
          </a:xfrm>
          <a:prstGeom prst="rect">
            <a:avLst/>
          </a:prstGeom>
          <a:noFill/>
          <a:ln w="9525">
            <a:noFill/>
            <a:miter lim="800000"/>
            <a:headEnd/>
            <a:tailEnd/>
          </a:ln>
          <a:effectLst/>
        </p:spPr>
        <p:txBody>
          <a:bodyPr vert="horz" wrap="square" lIns="11546" tIns="0" rIns="0" bIns="0" numCol="1" rtlCol="0" anchor="t" anchorCtr="0" compatLnSpc="1">
            <a:prstTxWarp prst="textNoShape">
              <a:avLst/>
            </a:prstTxWarp>
            <a:noAutofit/>
          </a:bodyPr>
          <a:lstStyle/>
          <a:p>
            <a:pPr marL="4073" marR="0" indent="-8145" algn="l" defTabSz="146621" rtl="0" eaLnBrk="0" fontAlgn="base" latinLnBrk="0" hangingPunct="0">
              <a:lnSpc>
                <a:spcPts val="694"/>
              </a:lnSpc>
              <a:spcBef>
                <a:spcPct val="0"/>
              </a:spcBef>
              <a:spcAft>
                <a:spcPts val="481"/>
              </a:spcAft>
              <a:buClrTx/>
              <a:buSzTx/>
              <a:tabLst/>
            </a:pPr>
            <a:r>
              <a:rPr kumimoji="0" lang="en-GB" sz="6382"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a:t>
            </a:r>
          </a:p>
        </p:txBody>
      </p:sp>
      <p:sp>
        <p:nvSpPr>
          <p:cNvPr id="14" name="Freeform 5">
            <a:extLst>
              <a:ext uri="{FF2B5EF4-FFF2-40B4-BE49-F238E27FC236}">
                <a16:creationId xmlns:a16="http://schemas.microsoft.com/office/drawing/2014/main" id="{A9AB153B-AFF1-4043-8D3F-263FEAF2377E}"/>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tx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5" name="Footer Placeholder 4">
            <a:extLst>
              <a:ext uri="{FF2B5EF4-FFF2-40B4-BE49-F238E27FC236}">
                <a16:creationId xmlns:a16="http://schemas.microsoft.com/office/drawing/2014/main" id="{55D8EFE0-F00D-46BC-9E29-8C829868EFF4}"/>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tx1"/>
                </a:solidFill>
              </a:defRPr>
            </a:lvl1pPr>
          </a:lstStyle>
          <a:p>
            <a:pPr algn="r"/>
            <a:endParaRPr lang="en-GB"/>
          </a:p>
        </p:txBody>
      </p:sp>
      <p:sp>
        <p:nvSpPr>
          <p:cNvPr id="17" name="Date_DateCustomA">
            <a:extLst>
              <a:ext uri="{FF2B5EF4-FFF2-40B4-BE49-F238E27FC236}">
                <a16:creationId xmlns:a16="http://schemas.microsoft.com/office/drawing/2014/main" id="{BA90A93D-37F9-4C65-91AC-8C8D05B4C5B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A8D4E2C-4AD4-4902-9AA6-258C412AEED1}" type="datetime1">
              <a:rPr lang="en-GB" smtClean="0"/>
              <a:t>20/06/2024</a:t>
            </a:fld>
            <a:endParaRPr lang="en-GB"/>
          </a:p>
        </p:txBody>
      </p:sp>
    </p:spTree>
    <p:extLst>
      <p:ext uri="{BB962C8B-B14F-4D97-AF65-F5344CB8AC3E}">
        <p14:creationId xmlns:p14="http://schemas.microsoft.com/office/powerpoint/2010/main" val="3416332022"/>
      </p:ext>
    </p:extLst>
  </p:cSld>
  <p:clrMapOvr>
    <a:overrideClrMapping bg1="dk1" tx1="lt1" bg2="dk2" tx2="lt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4" name="Title 7">
            <a:extLst>
              <a:ext uri="{FF2B5EF4-FFF2-40B4-BE49-F238E27FC236}">
                <a16:creationId xmlns:a16="http://schemas.microsoft.com/office/drawing/2014/main" id="{65C857B0-BA7F-4231-B59A-526700FAC84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702E9997-006D-492C-9877-F7617EDD299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7" name="Date_DateCustomA">
            <a:extLst>
              <a:ext uri="{FF2B5EF4-FFF2-40B4-BE49-F238E27FC236}">
                <a16:creationId xmlns:a16="http://schemas.microsoft.com/office/drawing/2014/main" id="{5FC6988B-A4CB-4E12-A565-68D705C3ABC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2E10D1A-D613-41CE-B02A-846290684BA0}" type="datetime1">
              <a:rPr lang="en-GB" smtClean="0"/>
              <a:t>20/06/2024</a:t>
            </a:fld>
            <a:endParaRPr lang="en-GB"/>
          </a:p>
        </p:txBody>
      </p:sp>
    </p:spTree>
    <p:extLst>
      <p:ext uri="{BB962C8B-B14F-4D97-AF65-F5344CB8AC3E}">
        <p14:creationId xmlns:p14="http://schemas.microsoft.com/office/powerpoint/2010/main" val="12251438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3" name="Footer Placeholder 4">
            <a:extLst>
              <a:ext uri="{FF2B5EF4-FFF2-40B4-BE49-F238E27FC236}">
                <a16:creationId xmlns:a16="http://schemas.microsoft.com/office/drawing/2014/main" id="{3ED85EA1-D7DA-4042-AE58-E34BD5AC52E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5" name="Date_DateCustomA">
            <a:extLst>
              <a:ext uri="{FF2B5EF4-FFF2-40B4-BE49-F238E27FC236}">
                <a16:creationId xmlns:a16="http://schemas.microsoft.com/office/drawing/2014/main" id="{235F65ED-2265-47AB-ACC6-E4B66C390755}"/>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47FB7D42-25F0-4925-AB91-37097B4A81F1}" type="datetime1">
              <a:rPr lang="en-GB" smtClean="0"/>
              <a:t>20/06/2024</a:t>
            </a:fld>
            <a:endParaRPr lang="en-GB"/>
          </a:p>
        </p:txBody>
      </p:sp>
    </p:spTree>
    <p:extLst>
      <p:ext uri="{BB962C8B-B14F-4D97-AF65-F5344CB8AC3E}">
        <p14:creationId xmlns:p14="http://schemas.microsoft.com/office/powerpoint/2010/main" val="11638281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End slide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2" name="Title Placeholder 1"/>
          <p:cNvSpPr>
            <a:spLocks noGrp="1"/>
          </p:cNvSpPr>
          <p:nvPr>
            <p:ph type="ctrTitle"/>
          </p:nvPr>
        </p:nvSpPr>
        <p:spPr>
          <a:xfrm>
            <a:off x="798617" y="452440"/>
            <a:ext cx="10590003" cy="1196444"/>
          </a:xfrm>
        </p:spPr>
        <p:txBody>
          <a:bodyPr tIns="0"/>
          <a:lstStyle>
            <a:lvl1pPr>
              <a:defRPr sz="1026" cap="all" baseline="0" smtClean="0">
                <a:solidFill>
                  <a:schemeClr val="bg1"/>
                </a:solidFill>
                <a:latin typeface="Verdana" pitchFamily="34" charset="0"/>
              </a:defRPr>
            </a:lvl1pPr>
          </a:lstStyle>
          <a:p>
            <a:r>
              <a:rPr lang="en-US" noProof="0"/>
              <a:t>Click to edit Master title style</a:t>
            </a:r>
            <a:endParaRPr lang="en-GB" noProof="0"/>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9270F80D-0DED-41DC-8003-ACA44099192B}" type="datetime1">
              <a:rPr lang="en-GB" smtClean="0"/>
              <a:t>20/06/2024</a:t>
            </a:fld>
            <a:endParaRPr lang="en-GB"/>
          </a:p>
        </p:txBody>
      </p:sp>
      <p:sp>
        <p:nvSpPr>
          <p:cNvPr id="11" name="Text Placeholder 2">
            <a:extLst>
              <a:ext uri="{FF2B5EF4-FFF2-40B4-BE49-F238E27FC236}">
                <a16:creationId xmlns:a16="http://schemas.microsoft.com/office/drawing/2014/main" id="{FCCD3D23-05BF-4B57-8284-15FF6D12171B}"/>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3827054176"/>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End slide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619" y="452439"/>
            <a:ext cx="4886960" cy="4431940"/>
          </a:xfrm>
        </p:spPr>
        <p:txBody>
          <a:bodyPr/>
          <a:lstStyle>
            <a:lvl1pPr>
              <a:defRPr>
                <a:solidFill>
                  <a:schemeClr val="bg1"/>
                </a:solidFill>
              </a:defRPr>
            </a:lvl1pPr>
          </a:lstStyle>
          <a:p>
            <a:r>
              <a:rPr lang="en-GB"/>
              <a:t>Thank you</a:t>
            </a:r>
          </a:p>
        </p:txBody>
      </p:sp>
      <p:sp>
        <p:nvSpPr>
          <p:cNvPr id="10" name="Text Placeholder 5">
            <a:extLst>
              <a:ext uri="{FF2B5EF4-FFF2-40B4-BE49-F238E27FC236}">
                <a16:creationId xmlns:a16="http://schemas.microsoft.com/office/drawing/2014/main" id="{7AAE5DB4-A422-4286-935C-1ABCA4CCEFA2}"/>
              </a:ext>
            </a:extLst>
          </p:cNvPr>
          <p:cNvSpPr>
            <a:spLocks noGrp="1"/>
          </p:cNvSpPr>
          <p:nvPr>
            <p:ph type="body" sz="quarter" idx="11" hasCustomPrompt="1"/>
          </p:nvPr>
        </p:nvSpPr>
        <p:spPr>
          <a:xfrm>
            <a:off x="798619" y="4970200"/>
            <a:ext cx="4886960" cy="365370"/>
          </a:xfrm>
        </p:spPr>
        <p:txBody>
          <a:bodyPr lIns="0" anchor="b" anchorCtr="0"/>
          <a:lstStyle>
            <a:lvl1pPr marL="0" indent="0">
              <a:buFont typeface="Arial" panose="020B0604020202020204" pitchFamily="34" charset="0"/>
              <a:buChar char="​"/>
              <a:defRPr sz="513">
                <a:solidFill>
                  <a:schemeClr val="bg1"/>
                </a:solidFill>
              </a:defRPr>
            </a:lvl1pPr>
          </a:lstStyle>
          <a:p>
            <a:pPr lvl="0"/>
            <a:r>
              <a:rPr lang="en-GB"/>
              <a:t>Name, Department </a:t>
            </a:r>
          </a:p>
        </p:txBody>
      </p:sp>
      <p:sp>
        <p:nvSpPr>
          <p:cNvPr id="6" name="Text Placeholder 5">
            <a:extLst>
              <a:ext uri="{FF2B5EF4-FFF2-40B4-BE49-F238E27FC236}">
                <a16:creationId xmlns:a16="http://schemas.microsoft.com/office/drawing/2014/main" id="{9B862EE0-F879-436B-A5EA-70A7F83ABF80}"/>
              </a:ext>
            </a:extLst>
          </p:cNvPr>
          <p:cNvSpPr>
            <a:spLocks noGrp="1"/>
          </p:cNvSpPr>
          <p:nvPr>
            <p:ph type="body" sz="quarter" idx="12" hasCustomPrompt="1"/>
          </p:nvPr>
        </p:nvSpPr>
        <p:spPr>
          <a:xfrm>
            <a:off x="798619" y="5332765"/>
            <a:ext cx="4886960" cy="424314"/>
          </a:xfrm>
        </p:spPr>
        <p:txBody>
          <a:bodyPr/>
          <a:lstStyle>
            <a:lvl1pPr marL="0" indent="0">
              <a:spcAft>
                <a:spcPts val="0"/>
              </a:spcAft>
              <a:buFontTx/>
              <a:buNone/>
              <a:defRPr sz="513">
                <a:solidFill>
                  <a:schemeClr val="bg1"/>
                </a:solidFill>
              </a:defRPr>
            </a:lvl1pPr>
            <a:lvl2pPr marL="126995" indent="0">
              <a:buFontTx/>
              <a:buNone/>
              <a:defRPr sz="513">
                <a:solidFill>
                  <a:schemeClr val="bg1"/>
                </a:solidFill>
              </a:defRPr>
            </a:lvl2pPr>
            <a:lvl3pPr marL="233208" indent="0">
              <a:buFontTx/>
              <a:buNone/>
              <a:defRPr sz="513">
                <a:solidFill>
                  <a:schemeClr val="bg1"/>
                </a:solidFill>
              </a:defRPr>
            </a:lvl3pPr>
            <a:lvl4pPr>
              <a:buFontTx/>
              <a:buNone/>
              <a:defRPr sz="513">
                <a:solidFill>
                  <a:schemeClr val="bg1"/>
                </a:solidFill>
              </a:defRPr>
            </a:lvl4pPr>
            <a:lvl5pPr>
              <a:buFontTx/>
              <a:buNone/>
              <a:defRPr sz="513">
                <a:solidFill>
                  <a:schemeClr val="bg1"/>
                </a:solidFill>
              </a:defRPr>
            </a:lvl5pPr>
          </a:lstStyle>
          <a:p>
            <a:pPr lvl="0"/>
            <a:r>
              <a:rPr lang="en-GB"/>
              <a:t>xxx@ramboll.com</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4" name="Footer Placeholder 4">
            <a:extLst>
              <a:ext uri="{FF2B5EF4-FFF2-40B4-BE49-F238E27FC236}">
                <a16:creationId xmlns:a16="http://schemas.microsoft.com/office/drawing/2014/main" id="{09855619-46E8-4B12-8D5A-DE355202193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8" name="Date_DateCustomA">
            <a:extLst>
              <a:ext uri="{FF2B5EF4-FFF2-40B4-BE49-F238E27FC236}">
                <a16:creationId xmlns:a16="http://schemas.microsoft.com/office/drawing/2014/main" id="{9CA6E42C-D397-4857-89FC-8B948A957D4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5E849237-3873-4459-A547-67B1C8011873}" type="datetime1">
              <a:rPr lang="en-GB" smtClean="0"/>
              <a:t>20/06/2024</a:t>
            </a:fld>
            <a:endParaRPr lang="en-GB"/>
          </a:p>
        </p:txBody>
      </p:sp>
      <p:pic>
        <p:nvPicPr>
          <p:cNvPr id="17" name="Picture 16">
            <a:extLst>
              <a:ext uri="{FF2B5EF4-FFF2-40B4-BE49-F238E27FC236}">
                <a16:creationId xmlns:a16="http://schemas.microsoft.com/office/drawing/2014/main" id="{649BD8C4-6612-438B-81F5-53DD9DF90E70}"/>
              </a:ext>
            </a:extLst>
          </p:cNvPr>
          <p:cNvPicPr>
            <a:picLocks noChangeAspect="1"/>
          </p:cNvPicPr>
          <p:nvPr userDrawn="1"/>
        </p:nvPicPr>
        <p:blipFill>
          <a:blip r:embed="rId2"/>
          <a:stretch>
            <a:fillRect/>
          </a:stretch>
        </p:blipFill>
        <p:spPr>
          <a:xfrm>
            <a:off x="798618" y="6158174"/>
            <a:ext cx="2826825" cy="255541"/>
          </a:xfrm>
          <a:prstGeom prst="rect">
            <a:avLst/>
          </a:prstGeom>
        </p:spPr>
      </p:pic>
    </p:spTree>
    <p:extLst>
      <p:ext uri="{BB962C8B-B14F-4D97-AF65-F5344CB8AC3E}">
        <p14:creationId xmlns:p14="http://schemas.microsoft.com/office/powerpoint/2010/main" val="3351188267"/>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End slide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pic>
        <p:nvPicPr>
          <p:cNvPr id="5" name="Picture 4">
            <a:extLst>
              <a:ext uri="{FF2B5EF4-FFF2-40B4-BE49-F238E27FC236}">
                <a16:creationId xmlns:a16="http://schemas.microsoft.com/office/drawing/2014/main" id="{550DA34D-CD01-4059-B449-4DCD238F6AE1}"/>
              </a:ext>
            </a:extLst>
          </p:cNvPr>
          <p:cNvPicPr>
            <a:picLocks noChangeAspect="1"/>
          </p:cNvPicPr>
          <p:nvPr userDrawn="1"/>
        </p:nvPicPr>
        <p:blipFill>
          <a:blip r:embed="rId2"/>
          <a:stretch>
            <a:fillRect/>
          </a:stretch>
        </p:blipFill>
        <p:spPr>
          <a:xfrm>
            <a:off x="1" y="1240"/>
            <a:ext cx="12192000" cy="6855521"/>
          </a:xfrm>
          <a:prstGeom prst="rect">
            <a:avLst/>
          </a:prstGeom>
        </p:spPr>
      </p:pic>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9270F80D-0DED-41DC-8003-ACA44099192B}" type="datetime1">
              <a:rPr lang="en-GB" smtClean="0"/>
              <a:t>20/06/2024</a:t>
            </a:fld>
            <a:endParaRPr lang="en-GB"/>
          </a:p>
        </p:txBody>
      </p:sp>
    </p:spTree>
    <p:extLst>
      <p:ext uri="{BB962C8B-B14F-4D97-AF65-F5344CB8AC3E}">
        <p14:creationId xmlns:p14="http://schemas.microsoft.com/office/powerpoint/2010/main" val="1343796918"/>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7F82B57-A829-4941-8BAC-1FE0A02EC16E}"/>
              </a:ext>
            </a:extLst>
          </p:cNvPr>
          <p:cNvGraphicFramePr>
            <a:graphicFrameLocks noChangeAspect="1"/>
          </p:cNvGraphicFramePr>
          <p:nvPr userDrawn="1">
            <p:custDataLst>
              <p:tags r:id="rId1"/>
            </p:custDataLst>
            <p:extLst>
              <p:ext uri="{D42A27DB-BD31-4B8C-83A1-F6EECF244321}">
                <p14:modId xmlns:p14="http://schemas.microsoft.com/office/powerpoint/2010/main" val="1708148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F7F82B57-A829-4941-8BAC-1FE0A02EC1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20-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8" name="FLD_PresentationTitle">
            <a:extLst>
              <a:ext uri="{FF2B5EF4-FFF2-40B4-BE49-F238E27FC236}">
                <a16:creationId xmlns:a16="http://schemas.microsoft.com/office/drawing/2014/main" id="{B1DAA5DF-5AA7-49EC-ACBF-10E8A1971277}"/>
              </a:ext>
            </a:extLst>
          </p:cNvPr>
          <p:cNvSpPr>
            <a:spLocks noGrp="1"/>
          </p:cNvSpPr>
          <p:nvPr>
            <p:ph type="ctrTitle" hasCustomPrompt="1"/>
          </p:nvPr>
        </p:nvSpPr>
        <p:spPr>
          <a:xfrm>
            <a:off x="798617" y="409475"/>
            <a:ext cx="9774384" cy="681390"/>
          </a:xfrm>
        </p:spPr>
        <p:txBody>
          <a:bodyPr tIns="0" anchor="t" anchorCtr="0"/>
          <a:lstStyle>
            <a:lvl1pPr>
              <a:defRPr sz="1539" cap="all" spc="-48" baseline="0" smtClean="0">
                <a:solidFill>
                  <a:schemeClr val="tx1"/>
                </a:solidFill>
                <a:latin typeface="Verdana" pitchFamily="34" charset="0"/>
              </a:defRPr>
            </a:lvl1pPr>
          </a:lstStyle>
          <a:p>
            <a:r>
              <a:rPr lang="en-GB" noProof="0" dirty="0"/>
              <a:t>Headline</a:t>
            </a:r>
          </a:p>
        </p:txBody>
      </p:sp>
      <p:sp>
        <p:nvSpPr>
          <p:cNvPr id="19" name="FLD_PresentationTitle_2">
            <a:extLst>
              <a:ext uri="{FF2B5EF4-FFF2-40B4-BE49-F238E27FC236}">
                <a16:creationId xmlns:a16="http://schemas.microsoft.com/office/drawing/2014/main" id="{5B27253C-39D7-4448-BD0F-A9FC3677BCBD}"/>
              </a:ext>
            </a:extLst>
          </p:cNvPr>
          <p:cNvSpPr>
            <a:spLocks noGrp="1" noChangeArrowheads="1"/>
          </p:cNvSpPr>
          <p:nvPr>
            <p:ph type="subTitle" sz="quarter" idx="1" hasCustomPrompt="1"/>
          </p:nvPr>
        </p:nvSpPr>
        <p:spPr>
          <a:xfrm>
            <a:off x="798616" y="1139481"/>
            <a:ext cx="9773924" cy="1254271"/>
          </a:xfrm>
        </p:spPr>
        <p:txBody>
          <a:bodyPr lIns="0"/>
          <a:lstStyle>
            <a:lvl1pPr marL="0" indent="0">
              <a:lnSpc>
                <a:spcPct val="100000"/>
              </a:lnSpc>
              <a:spcAft>
                <a:spcPts val="0"/>
              </a:spcAft>
              <a:buFontTx/>
              <a:buNone/>
              <a:defRPr sz="1539" b="1" cap="all" spc="-48" baseline="0" smtClean="0">
                <a:solidFill>
                  <a:schemeClr val="tx2"/>
                </a:solidFill>
                <a:latin typeface="Verdana" pitchFamily="34" charset="0"/>
              </a:defRPr>
            </a:lvl1pPr>
          </a:lstStyle>
          <a:p>
            <a:r>
              <a:rPr lang="en-GB" noProof="0" dirty="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lvl1pPr>
          </a:lstStyle>
          <a:p>
            <a:pPr lvl="0"/>
            <a:r>
              <a:rPr lang="en-GB"/>
              <a:t>Subtitle</a:t>
            </a:r>
            <a:endParaRPr lang="en-GB" dirty="0"/>
          </a:p>
        </p:txBody>
      </p:sp>
      <p:sp>
        <p:nvSpPr>
          <p:cNvPr id="9" name="Slide Number Placeholder 5"/>
          <p:cNvSpPr>
            <a:spLocks noGrp="1"/>
          </p:cNvSpPr>
          <p:nvPr>
            <p:ph type="sldNum" sz="quarter" idx="4"/>
          </p:nvPr>
        </p:nvSpPr>
        <p:spPr>
          <a:xfrm>
            <a:off x="10908620" y="6283328"/>
            <a:ext cx="480001" cy="155575"/>
          </a:xfrm>
          <a:prstGeom prst="rect">
            <a:avLst/>
          </a:prstGeom>
        </p:spPr>
        <p:txBody>
          <a:bodyPr vert="horz" wrap="square" lIns="0" tIns="0" rIns="0" bIns="0" numCol="1" anchor="ctr" anchorCtr="0" compatLnSpc="1">
            <a:prstTxWarp prst="textNoShape">
              <a:avLst/>
            </a:prstTxWarp>
          </a:bodyPr>
          <a:lstStyle>
            <a:lvl1pPr algn="r">
              <a:defRPr sz="257">
                <a:solidFill>
                  <a:schemeClr val="tx1"/>
                </a:solidFill>
              </a:defRPr>
            </a:lvl1pPr>
          </a:lstStyle>
          <a:p>
            <a:fld id="{31421AFA-3AE7-4CEA-BC9B-447859BED57B}" type="slidenum">
              <a:rPr lang="en-GB" smtClean="0"/>
              <a:pPr/>
              <a:t>‹#›</a:t>
            </a:fld>
            <a:endParaRPr lang="en-GB" dirty="0"/>
          </a:p>
        </p:txBody>
      </p:sp>
      <p:sp>
        <p:nvSpPr>
          <p:cNvPr id="11" name="Footer Placeholder 4">
            <a:extLst>
              <a:ext uri="{FF2B5EF4-FFF2-40B4-BE49-F238E27FC236}">
                <a16:creationId xmlns:a16="http://schemas.microsoft.com/office/drawing/2014/main" id="{FC6EA742-E999-426B-9F1C-33524D47AEA4}"/>
              </a:ext>
            </a:extLst>
          </p:cNvPr>
          <p:cNvSpPr>
            <a:spLocks noGrp="1"/>
          </p:cNvSpPr>
          <p:nvPr>
            <p:ph type="ftr" sz="quarter" idx="3"/>
          </p:nvPr>
        </p:nvSpPr>
        <p:spPr>
          <a:xfrm>
            <a:off x="4056591" y="6280502"/>
            <a:ext cx="6515949"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2" name="Date_DateCustomA">
            <a:extLst>
              <a:ext uri="{FF2B5EF4-FFF2-40B4-BE49-F238E27FC236}">
                <a16:creationId xmlns:a16="http://schemas.microsoft.com/office/drawing/2014/main" id="{09BA1C59-AB8D-4ACE-A4C9-3A97AB0B83E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13F78D9-42B8-43DD-B9D4-11FA41011F45}" type="datetime1">
              <a:rPr lang="en-GB" smtClean="0"/>
              <a:t>20/06/2024</a:t>
            </a:fld>
            <a:endParaRPr lang="en-GB" dirty="0"/>
          </a:p>
        </p:txBody>
      </p:sp>
      <p:grpSp>
        <p:nvGrpSpPr>
          <p:cNvPr id="13" name="Group 12">
            <a:extLst>
              <a:ext uri="{FF2B5EF4-FFF2-40B4-BE49-F238E27FC236}">
                <a16:creationId xmlns:a16="http://schemas.microsoft.com/office/drawing/2014/main" id="{8CA71D2E-512F-4EB0-AAF9-E4FEBA858101}"/>
              </a:ext>
            </a:extLst>
          </p:cNvPr>
          <p:cNvGrpSpPr/>
          <p:nvPr userDrawn="1"/>
        </p:nvGrpSpPr>
        <p:grpSpPr>
          <a:xfrm>
            <a:off x="-1972350" y="1633992"/>
            <a:ext cx="1797025" cy="2906915"/>
            <a:chOff x="-1899137" y="-1"/>
            <a:chExt cx="1796791" cy="2907588"/>
          </a:xfrm>
        </p:grpSpPr>
        <p:grpSp>
          <p:nvGrpSpPr>
            <p:cNvPr id="14" name="Group 13">
              <a:extLst>
                <a:ext uri="{FF2B5EF4-FFF2-40B4-BE49-F238E27FC236}">
                  <a16:creationId xmlns:a16="http://schemas.microsoft.com/office/drawing/2014/main" id="{8404ACBE-98F7-42FA-B2C4-2BDACC351B5F}"/>
                </a:ext>
              </a:extLst>
            </p:cNvPr>
            <p:cNvGrpSpPr/>
            <p:nvPr userDrawn="1"/>
          </p:nvGrpSpPr>
          <p:grpSpPr>
            <a:xfrm>
              <a:off x="-1899137" y="-1"/>
              <a:ext cx="1796791" cy="2907588"/>
              <a:chOff x="9009867" y="1645032"/>
              <a:chExt cx="2365739" cy="3828268"/>
            </a:xfrm>
          </p:grpSpPr>
          <p:pic>
            <p:nvPicPr>
              <p:cNvPr id="16" name="Picture 15">
                <a:extLst>
                  <a:ext uri="{FF2B5EF4-FFF2-40B4-BE49-F238E27FC236}">
                    <a16:creationId xmlns:a16="http://schemas.microsoft.com/office/drawing/2014/main" id="{7674FC44-6BF9-46ED-9900-58E4FF056204}"/>
                  </a:ext>
                </a:extLst>
              </p:cNvPr>
              <p:cNvPicPr>
                <a:picLocks noChangeAspect="1"/>
              </p:cNvPicPr>
              <p:nvPr/>
            </p:nvPicPr>
            <p:blipFill>
              <a:blip r:embed="rId2"/>
              <a:stretch>
                <a:fillRect/>
              </a:stretch>
            </p:blipFill>
            <p:spPr>
              <a:xfrm>
                <a:off x="9182748" y="1852126"/>
                <a:ext cx="599367" cy="280555"/>
              </a:xfrm>
              <a:prstGeom prst="rect">
                <a:avLst/>
              </a:prstGeom>
            </p:spPr>
          </p:pic>
          <p:sp>
            <p:nvSpPr>
              <p:cNvPr id="17" name="TextBox 16">
                <a:extLst>
                  <a:ext uri="{FF2B5EF4-FFF2-40B4-BE49-F238E27FC236}">
                    <a16:creationId xmlns:a16="http://schemas.microsoft.com/office/drawing/2014/main" id="{D5F5BB9B-F1EC-45D9-9CB7-D11256272499}"/>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8543A725-2ECD-475C-B8F2-4B95DD799F0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dirty="0">
                  <a:solidFill>
                    <a:schemeClr val="accent3"/>
                  </a:solidFill>
                </a:endParaRPr>
              </a:p>
            </p:txBody>
          </p:sp>
        </p:grpSp>
        <p:pic>
          <p:nvPicPr>
            <p:cNvPr id="15" name="Picture 14">
              <a:extLst>
                <a:ext uri="{FF2B5EF4-FFF2-40B4-BE49-F238E27FC236}">
                  <a16:creationId xmlns:a16="http://schemas.microsoft.com/office/drawing/2014/main" id="{5D058906-F75B-403B-B22D-B41549B2401D}"/>
                </a:ext>
              </a:extLst>
            </p:cNvPr>
            <p:cNvPicPr>
              <a:picLocks noChangeAspect="1"/>
            </p:cNvPicPr>
            <p:nvPr userDrawn="1"/>
          </p:nvPicPr>
          <p:blipFill>
            <a:blip r:embed="rId3"/>
            <a:stretch>
              <a:fillRect/>
            </a:stretch>
          </p:blipFill>
          <p:spPr>
            <a:xfrm>
              <a:off x="-1884053" y="1200637"/>
              <a:ext cx="1418614" cy="1444137"/>
            </a:xfrm>
            <a:prstGeom prst="rect">
              <a:avLst/>
            </a:prstGeom>
          </p:spPr>
        </p:pic>
      </p:grpSp>
      <p:pic>
        <p:nvPicPr>
          <p:cNvPr id="24" name="Picture 23">
            <a:extLst>
              <a:ext uri="{FF2B5EF4-FFF2-40B4-BE49-F238E27FC236}">
                <a16:creationId xmlns:a16="http://schemas.microsoft.com/office/drawing/2014/main" id="{BB368B35-1A95-4DB8-9489-9493B9DFE5DC}"/>
              </a:ext>
            </a:extLst>
          </p:cNvPr>
          <p:cNvPicPr>
            <a:picLocks noChangeAspect="1"/>
          </p:cNvPicPr>
          <p:nvPr userDrawn="1"/>
        </p:nvPicPr>
        <p:blipFill>
          <a:blip r:embed="rId4"/>
          <a:stretch>
            <a:fillRect/>
          </a:stretch>
        </p:blipFill>
        <p:spPr>
          <a:xfrm>
            <a:off x="798617" y="6158174"/>
            <a:ext cx="2826826" cy="255541"/>
          </a:xfrm>
          <a:prstGeom prst="rect">
            <a:avLst/>
          </a:prstGeom>
        </p:spPr>
      </p:pic>
    </p:spTree>
    <p:extLst>
      <p:ext uri="{BB962C8B-B14F-4D97-AF65-F5344CB8AC3E}">
        <p14:creationId xmlns:p14="http://schemas.microsoft.com/office/powerpoint/2010/main" val="10235585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 bright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2000" cy="6858000"/>
          </a:xfrm>
          <a:noFill/>
          <a:ln>
            <a:noFill/>
          </a:ln>
        </p:spPr>
        <p:txBody>
          <a:bodyPr tIns="0" anchor="t" anchorCtr="0"/>
          <a:lstStyle>
            <a:lvl1pPr algn="ctr">
              <a:buNone/>
              <a:defRPr>
                <a:solidFill>
                  <a:schemeClr val="tx1"/>
                </a:solidFill>
              </a:defRPr>
            </a:lvl1pPr>
          </a:lstStyle>
          <a:p>
            <a:r>
              <a:rPr lang="en-GB" noProof="0" dirty="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618" y="409475"/>
            <a:ext cx="9773923" cy="681390"/>
          </a:xfrm>
        </p:spPr>
        <p:txBody>
          <a:bodyPr tIns="0" anchor="t" anchorCtr="0"/>
          <a:lstStyle>
            <a:lvl1pPr>
              <a:defRPr sz="1539" cap="all" spc="-48" baseline="0" smtClean="0">
                <a:solidFill>
                  <a:schemeClr val="tx1"/>
                </a:solidFill>
                <a:latin typeface="Verdana" pitchFamily="34" charset="0"/>
              </a:defRPr>
            </a:lvl1pPr>
          </a:lstStyle>
          <a:p>
            <a:r>
              <a:rPr lang="en-GB" noProof="0" dirty="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617" y="1139481"/>
            <a:ext cx="9773463" cy="1254271"/>
          </a:xfrm>
        </p:spPr>
        <p:txBody>
          <a:bodyPr lIns="0"/>
          <a:lstStyle>
            <a:lvl1pPr marL="0" indent="0">
              <a:lnSpc>
                <a:spcPct val="100000"/>
              </a:lnSpc>
              <a:spcAft>
                <a:spcPts val="0"/>
              </a:spcAft>
              <a:buFontTx/>
              <a:buNone/>
              <a:defRPr sz="1539" b="1" cap="all" spc="-48" baseline="0" smtClean="0">
                <a:solidFill>
                  <a:schemeClr val="tx2"/>
                </a:solidFill>
                <a:latin typeface="Verdana" pitchFamily="34" charset="0"/>
              </a:defRPr>
            </a:lvl1pPr>
          </a:lstStyle>
          <a:p>
            <a:r>
              <a:rPr lang="en-GB" noProof="0" dirty="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lvl1pPr>
          </a:lstStyle>
          <a:p>
            <a:pPr lvl="0"/>
            <a:r>
              <a:rPr lang="en-GB"/>
              <a:t>Subtitle</a:t>
            </a:r>
            <a:endParaRPr lang="en-GB" dirty="0"/>
          </a:p>
        </p:txBody>
      </p:sp>
      <p:sp>
        <p:nvSpPr>
          <p:cNvPr id="7"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9" name="Slide Number Placeholder 5" hidden="1"/>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17" name="Footer Placeholder 4" hidden="1">
            <a:extLst>
              <a:ext uri="{FF2B5EF4-FFF2-40B4-BE49-F238E27FC236}">
                <a16:creationId xmlns:a16="http://schemas.microsoft.com/office/drawing/2014/main" id="{32F99A81-D9A2-4F30-8989-49FBFDFFBC22}"/>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18" name="Date_DateCustomA">
            <a:extLst>
              <a:ext uri="{FF2B5EF4-FFF2-40B4-BE49-F238E27FC236}">
                <a16:creationId xmlns:a16="http://schemas.microsoft.com/office/drawing/2014/main" id="{4677BC5A-C865-45E8-BEA2-32CF74611B59}"/>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dirty="0"/>
          </a:p>
        </p:txBody>
      </p:sp>
      <p:sp>
        <p:nvSpPr>
          <p:cNvPr id="12" name="Text Placeholder 2">
            <a:extLst>
              <a:ext uri="{FF2B5EF4-FFF2-40B4-BE49-F238E27FC236}">
                <a16:creationId xmlns:a16="http://schemas.microsoft.com/office/drawing/2014/main" id="{7BCB23DC-9A5C-4856-B9D3-C9BA6C166827}"/>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dirty="0"/>
              <a:t>.</a:t>
            </a:r>
          </a:p>
        </p:txBody>
      </p:sp>
    </p:spTree>
    <p:extLst>
      <p:ext uri="{BB962C8B-B14F-4D97-AF65-F5344CB8AC3E}">
        <p14:creationId xmlns:p14="http://schemas.microsoft.com/office/powerpoint/2010/main" val="323239964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dark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2000" cy="6858000"/>
          </a:xfrm>
          <a:solidFill>
            <a:srgbClr val="F6F6F4"/>
          </a:solidFill>
          <a:ln>
            <a:noFill/>
          </a:ln>
        </p:spPr>
        <p:txBody>
          <a:bodyPr tIns="0" anchor="t" anchorCtr="0"/>
          <a:lstStyle>
            <a:lvl1pPr algn="ctr">
              <a:buNone/>
              <a:defRPr>
                <a:solidFill>
                  <a:schemeClr val="tx1"/>
                </a:solidFill>
              </a:defRPr>
            </a:lvl1pPr>
          </a:lstStyle>
          <a:p>
            <a:r>
              <a:rPr lang="en-GB" noProof="0"/>
              <a:t>Mark placeholder to insert image</a:t>
            </a:r>
            <a:endParaRPr lang="en-GB" noProof="0" dirty="0"/>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618" y="409475"/>
            <a:ext cx="9774382" cy="681390"/>
          </a:xfrm>
        </p:spPr>
        <p:txBody>
          <a:bodyPr tIns="0" anchor="t" anchorCtr="0"/>
          <a:lstStyle>
            <a:lvl1pPr>
              <a:defRPr sz="1539" cap="all" spc="-48" baseline="0" smtClean="0">
                <a:solidFill>
                  <a:schemeClr val="tx2"/>
                </a:solidFill>
                <a:latin typeface="Verdana" pitchFamily="34" charset="0"/>
              </a:defRPr>
            </a:lvl1pPr>
          </a:lstStyle>
          <a:p>
            <a:r>
              <a:rPr lang="en-GB" noProof="0" dirty="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617" y="1139481"/>
            <a:ext cx="9773923" cy="1254271"/>
          </a:xfrm>
        </p:spPr>
        <p:txBody>
          <a:bodyPr lIns="0"/>
          <a:lstStyle>
            <a:lvl1pPr marL="0" indent="0">
              <a:lnSpc>
                <a:spcPct val="100000"/>
              </a:lnSpc>
              <a:spcAft>
                <a:spcPts val="0"/>
              </a:spcAft>
              <a:buFontTx/>
              <a:buNone/>
              <a:defRPr sz="1539" b="1" cap="all" spc="-48" baseline="0" smtClean="0">
                <a:solidFill>
                  <a:schemeClr val="bg1"/>
                </a:solidFill>
                <a:latin typeface="Verdana" pitchFamily="34" charset="0"/>
              </a:defRPr>
            </a:lvl1pPr>
          </a:lstStyle>
          <a:p>
            <a:r>
              <a:rPr lang="en-GB" noProof="0" dirty="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solidFill>
                  <a:schemeClr val="bg1"/>
                </a:solidFill>
              </a:defRPr>
            </a:lvl1pPr>
          </a:lstStyle>
          <a:p>
            <a:pPr lvl="0"/>
            <a:r>
              <a:rPr lang="en-GB"/>
              <a:t>Subtitle</a:t>
            </a:r>
            <a:endParaRPr lang="en-GB" dirty="0"/>
          </a:p>
        </p:txBody>
      </p:sp>
      <p:sp>
        <p:nvSpPr>
          <p:cNvPr id="7"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19" name="Slide Number Placeholder 5" hidden="1">
            <a:extLst>
              <a:ext uri="{FF2B5EF4-FFF2-40B4-BE49-F238E27FC236}">
                <a16:creationId xmlns:a16="http://schemas.microsoft.com/office/drawing/2014/main" id="{F31626DF-C504-456C-BABA-F9E112AEAE62}"/>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22" name="Footer Placeholder 4" hidden="1">
            <a:extLst>
              <a:ext uri="{FF2B5EF4-FFF2-40B4-BE49-F238E27FC236}">
                <a16:creationId xmlns:a16="http://schemas.microsoft.com/office/drawing/2014/main" id="{148EA343-9CD9-4A35-8E70-A9FAF3855BD9}"/>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23" name="Date_DateCustomA" hidden="1">
            <a:extLst>
              <a:ext uri="{FF2B5EF4-FFF2-40B4-BE49-F238E27FC236}">
                <a16:creationId xmlns:a16="http://schemas.microsoft.com/office/drawing/2014/main" id="{D46E539C-AF02-4268-B134-91B646ABB7B9}"/>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dirty="0"/>
          </a:p>
        </p:txBody>
      </p:sp>
      <p:sp>
        <p:nvSpPr>
          <p:cNvPr id="12" name="Text Placeholder 2">
            <a:extLst>
              <a:ext uri="{FF2B5EF4-FFF2-40B4-BE49-F238E27FC236}">
                <a16:creationId xmlns:a16="http://schemas.microsoft.com/office/drawing/2014/main" id="{CB71DD6B-2BD1-40F7-8209-3A56F244488F}"/>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dirty="0"/>
              <a:t>.</a:t>
            </a:r>
          </a:p>
        </p:txBody>
      </p:sp>
    </p:spTree>
    <p:extLst>
      <p:ext uri="{BB962C8B-B14F-4D97-AF65-F5344CB8AC3E}">
        <p14:creationId xmlns:p14="http://schemas.microsoft.com/office/powerpoint/2010/main" val="30453995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Breaker (A)">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dirty="0"/>
          </a:p>
        </p:txBody>
      </p:sp>
      <p:sp>
        <p:nvSpPr>
          <p:cNvPr id="24" name="Title 1">
            <a:extLst>
              <a:ext uri="{FF2B5EF4-FFF2-40B4-BE49-F238E27FC236}">
                <a16:creationId xmlns:a16="http://schemas.microsoft.com/office/drawing/2014/main" id="{205C9348-6845-4A4F-958A-4A052BC8EDF6}"/>
              </a:ext>
            </a:extLst>
          </p:cNvPr>
          <p:cNvSpPr>
            <a:spLocks noGrp="1"/>
          </p:cNvSpPr>
          <p:nvPr>
            <p:ph type="title" hasCustomPrompt="1"/>
          </p:nvPr>
        </p:nvSpPr>
        <p:spPr>
          <a:xfrm>
            <a:off x="798618" y="452438"/>
            <a:ext cx="7330441" cy="5254627"/>
          </a:xfrm>
        </p:spPr>
        <p:txBody>
          <a:bodyPr/>
          <a:lstStyle>
            <a:lvl1pPr>
              <a:defRPr sz="1539">
                <a:solidFill>
                  <a:schemeClr val="bg1"/>
                </a:solidFill>
              </a:defRPr>
            </a:lvl1pPr>
          </a:lstStyle>
          <a:p>
            <a:r>
              <a:rPr lang="en-GB" dirty="0"/>
              <a:t>Breaker text</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1" name="Freeform 5">
            <a:extLst>
              <a:ext uri="{FF2B5EF4-FFF2-40B4-BE49-F238E27FC236}">
                <a16:creationId xmlns:a16="http://schemas.microsoft.com/office/drawing/2014/main" id="{19783461-93EA-4162-AC89-71558EC415F3}"/>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dirty="0"/>
          </a:p>
        </p:txBody>
      </p:sp>
      <p:sp>
        <p:nvSpPr>
          <p:cNvPr id="10" name="Footer Placeholder 4">
            <a:extLst>
              <a:ext uri="{FF2B5EF4-FFF2-40B4-BE49-F238E27FC236}">
                <a16:creationId xmlns:a16="http://schemas.microsoft.com/office/drawing/2014/main" id="{8EE38BD6-B0DE-4974-8C0E-549D4DF8AD81}"/>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dirty="0"/>
          </a:p>
        </p:txBody>
      </p:sp>
      <p:sp>
        <p:nvSpPr>
          <p:cNvPr id="15" name="Date_DateCustomA">
            <a:extLst>
              <a:ext uri="{FF2B5EF4-FFF2-40B4-BE49-F238E27FC236}">
                <a16:creationId xmlns:a16="http://schemas.microsoft.com/office/drawing/2014/main" id="{4F117C74-452F-4005-AE59-9EDC236F06C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39E358D6-2C07-4588-BB20-50FD0000CCEB}" type="datetime1">
              <a:rPr lang="en-GB" smtClean="0"/>
              <a:t>20/06/2024</a:t>
            </a:fld>
            <a:endParaRPr lang="en-GB" dirty="0"/>
          </a:p>
        </p:txBody>
      </p:sp>
    </p:spTree>
    <p:extLst>
      <p:ext uri="{BB962C8B-B14F-4D97-AF65-F5344CB8AC3E}">
        <p14:creationId xmlns:p14="http://schemas.microsoft.com/office/powerpoint/2010/main" val="82130607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reaker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666208A-F4F9-4299-9F9F-6881C4C08564}"/>
              </a:ext>
            </a:extLst>
          </p:cNvPr>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dirty="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619" y="452438"/>
            <a:ext cx="4886960" cy="5254627"/>
          </a:xfrm>
        </p:spPr>
        <p:txBody>
          <a:bodyPr/>
          <a:lstStyle>
            <a:lvl1pPr>
              <a:defRPr>
                <a:solidFill>
                  <a:schemeClr val="bg1"/>
                </a:solidFill>
              </a:defRPr>
            </a:lvl1pPr>
          </a:lstStyle>
          <a:p>
            <a:r>
              <a:rPr lang="en-GB" dirty="0"/>
              <a:t>Breaker text</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dirty="0"/>
          </a:p>
        </p:txBody>
      </p:sp>
      <p:sp>
        <p:nvSpPr>
          <p:cNvPr id="11" name="Footer Placeholder 4">
            <a:extLst>
              <a:ext uri="{FF2B5EF4-FFF2-40B4-BE49-F238E27FC236}">
                <a16:creationId xmlns:a16="http://schemas.microsoft.com/office/drawing/2014/main" id="{7AE25691-DC33-4C04-AF2A-3DEFF887BB00}"/>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dirty="0"/>
          </a:p>
        </p:txBody>
      </p:sp>
      <p:sp>
        <p:nvSpPr>
          <p:cNvPr id="17" name="Date_DateCustomA">
            <a:extLst>
              <a:ext uri="{FF2B5EF4-FFF2-40B4-BE49-F238E27FC236}">
                <a16:creationId xmlns:a16="http://schemas.microsoft.com/office/drawing/2014/main" id="{F99201D3-72C4-4206-8970-FC1ACB025C0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E6892AED-DD77-42C7-BB42-12F75B7E66E8}" type="datetime1">
              <a:rPr lang="en-GB" smtClean="0"/>
              <a:t>20/06/2024</a:t>
            </a:fld>
            <a:endParaRPr lang="en-GB" dirty="0"/>
          </a:p>
        </p:txBody>
      </p:sp>
    </p:spTree>
    <p:extLst>
      <p:ext uri="{BB962C8B-B14F-4D97-AF65-F5344CB8AC3E}">
        <p14:creationId xmlns:p14="http://schemas.microsoft.com/office/powerpoint/2010/main" val="362020244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C52AC6E-7F31-46F0-897C-8CA895D525E5}"/>
              </a:ext>
            </a:extLst>
          </p:cNvPr>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dirty="0"/>
          </a:p>
        </p:txBody>
      </p:sp>
      <p:sp>
        <p:nvSpPr>
          <p:cNvPr id="10" name="Title 3">
            <a:extLst>
              <a:ext uri="{FF2B5EF4-FFF2-40B4-BE49-F238E27FC236}">
                <a16:creationId xmlns:a16="http://schemas.microsoft.com/office/drawing/2014/main" id="{12A0CAF9-565B-4643-8539-61D9B882A512}"/>
              </a:ext>
            </a:extLst>
          </p:cNvPr>
          <p:cNvSpPr>
            <a:spLocks noGrp="1"/>
          </p:cNvSpPr>
          <p:nvPr>
            <p:ph type="title"/>
          </p:nvPr>
        </p:nvSpPr>
        <p:spPr>
          <a:xfrm>
            <a:off x="798617" y="453496"/>
            <a:ext cx="10590003" cy="748626"/>
          </a:xfrm>
        </p:spPr>
        <p:txBody>
          <a:bodyPr/>
          <a:lstStyle>
            <a:lvl1pPr>
              <a:defRPr>
                <a:solidFill>
                  <a:schemeClr val="bg1"/>
                </a:solidFill>
              </a:defRPr>
            </a:lvl1pPr>
          </a:lstStyle>
          <a:p>
            <a:r>
              <a:rPr lang="en-US"/>
              <a:t>Click to edit Master title style</a:t>
            </a:r>
            <a:endParaRPr lang="en-GB" dirty="0"/>
          </a:p>
        </p:txBody>
      </p:sp>
      <p:sp>
        <p:nvSpPr>
          <p:cNvPr id="5" name="Text Placeholder 4">
            <a:extLst>
              <a:ext uri="{FF2B5EF4-FFF2-40B4-BE49-F238E27FC236}">
                <a16:creationId xmlns:a16="http://schemas.microsoft.com/office/drawing/2014/main" id="{86D6618B-DF84-4E96-B2FD-7B59D5717CEB}"/>
              </a:ext>
            </a:extLst>
          </p:cNvPr>
          <p:cNvSpPr>
            <a:spLocks noGrp="1"/>
          </p:cNvSpPr>
          <p:nvPr>
            <p:ph type="body" sz="quarter" idx="13" hasCustomPrompt="1"/>
          </p:nvPr>
        </p:nvSpPr>
        <p:spPr>
          <a:xfrm>
            <a:off x="798618" y="1633160"/>
            <a:ext cx="10590003" cy="4086866"/>
          </a:xfrm>
        </p:spPr>
        <p:txBody>
          <a:bodyPr/>
          <a:lstStyle>
            <a:lvl1pPr marL="116075" indent="-116075">
              <a:buFont typeface="+mj-lt"/>
              <a:buAutoNum type="arabicPeriod"/>
              <a:defRPr sz="449" b="1" cap="all" baseline="0">
                <a:solidFill>
                  <a:schemeClr val="bg1"/>
                </a:solidFill>
              </a:defRPr>
            </a:lvl1pPr>
            <a:lvl2pPr marL="201095" indent="-85020">
              <a:defRPr sz="449" b="1" cap="all" baseline="0">
                <a:solidFill>
                  <a:schemeClr val="bg1"/>
                </a:solidFill>
              </a:defRPr>
            </a:lvl2pPr>
            <a:lvl3pPr>
              <a:defRPr b="1" cap="all" baseline="0">
                <a:solidFill>
                  <a:schemeClr val="bg1"/>
                </a:solidFill>
              </a:defRPr>
            </a:lvl3pPr>
            <a:lvl4pPr>
              <a:defRPr b="1" cap="all" baseline="0">
                <a:solidFill>
                  <a:schemeClr val="bg1"/>
                </a:solidFill>
              </a:defRPr>
            </a:lvl4pPr>
            <a:lvl5pPr>
              <a:defRPr b="1" cap="all" baseline="0">
                <a:solidFill>
                  <a:schemeClr val="bg1"/>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dirty="0"/>
          </a:p>
        </p:txBody>
      </p:sp>
      <p:sp>
        <p:nvSpPr>
          <p:cNvPr id="15" name="Footer Placeholder 4">
            <a:extLst>
              <a:ext uri="{FF2B5EF4-FFF2-40B4-BE49-F238E27FC236}">
                <a16:creationId xmlns:a16="http://schemas.microsoft.com/office/drawing/2014/main" id="{3023EA8A-7243-49C8-8C39-DC7F2EDABC60}"/>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dirty="0"/>
          </a:p>
        </p:txBody>
      </p:sp>
      <p:sp>
        <p:nvSpPr>
          <p:cNvPr id="17" name="Date_DateCustomA">
            <a:extLst>
              <a:ext uri="{FF2B5EF4-FFF2-40B4-BE49-F238E27FC236}">
                <a16:creationId xmlns:a16="http://schemas.microsoft.com/office/drawing/2014/main" id="{0BFC8F03-4431-41CF-AF1F-ECDA545293A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CD4A6F46-B6F7-4994-AAE4-379699F66888}" type="datetime1">
              <a:rPr lang="en-GB" smtClean="0"/>
              <a:t>20/06/2024</a:t>
            </a:fld>
            <a:endParaRPr lang="en-GB" dirty="0"/>
          </a:p>
        </p:txBody>
      </p:sp>
    </p:spTree>
    <p:extLst>
      <p:ext uri="{BB962C8B-B14F-4D97-AF65-F5344CB8AC3E}">
        <p14:creationId xmlns:p14="http://schemas.microsoft.com/office/powerpoint/2010/main" val="20535945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BAD0C-7FB6-4652-87AA-A678753BF180}"/>
              </a:ext>
            </a:extLst>
          </p:cNvPr>
          <p:cNvSpPr>
            <a:spLocks noGrp="1"/>
          </p:cNvSpPr>
          <p:nvPr>
            <p:ph type="title"/>
          </p:nvPr>
        </p:nvSpPr>
        <p:spPr>
          <a:xfrm>
            <a:off x="798617" y="453496"/>
            <a:ext cx="10590003" cy="748626"/>
          </a:xfrm>
        </p:spPr>
        <p:txBody>
          <a:bodyPr/>
          <a:lstStyle/>
          <a:p>
            <a:r>
              <a:rPr lang="en-US"/>
              <a:t>Click to edit Master title style</a:t>
            </a:r>
            <a:endParaRPr lang="en-GB" dirty="0"/>
          </a:p>
        </p:txBody>
      </p:sp>
      <p:sp>
        <p:nvSpPr>
          <p:cNvPr id="3" name="Content Placeholder 2"/>
          <p:cNvSpPr>
            <a:spLocks noGrp="1"/>
          </p:cNvSpPr>
          <p:nvPr>
            <p:ph idx="1" hasCustomPrompt="1"/>
          </p:nvPr>
        </p:nvSpPr>
        <p:spPr>
          <a:xfrm>
            <a:off x="798617" y="1644652"/>
            <a:ext cx="10590003"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5" name="Footer Placeholder 4">
            <a:extLst>
              <a:ext uri="{FF2B5EF4-FFF2-40B4-BE49-F238E27FC236}">
                <a16:creationId xmlns:a16="http://schemas.microsoft.com/office/drawing/2014/main" id="{C5FF0F6B-AA6E-4B16-90F1-26987BBE96A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7" name="Date_DateCustomA">
            <a:extLst>
              <a:ext uri="{FF2B5EF4-FFF2-40B4-BE49-F238E27FC236}">
                <a16:creationId xmlns:a16="http://schemas.microsoft.com/office/drawing/2014/main" id="{FDCD1E09-F97D-49B0-8DE9-0E701EFB5FB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3B98ADA4-E8FA-45D8-A667-5B7FA1A67187}" type="datetime1">
              <a:rPr lang="en-GB" smtClean="0"/>
              <a:t>20/06/2024</a:t>
            </a:fld>
            <a:endParaRPr lang="en-GB" dirty="0"/>
          </a:p>
        </p:txBody>
      </p:sp>
    </p:spTree>
    <p:extLst>
      <p:ext uri="{BB962C8B-B14F-4D97-AF65-F5344CB8AC3E}">
        <p14:creationId xmlns:p14="http://schemas.microsoft.com/office/powerpoint/2010/main" val="273857296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4886961"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49478155-5C9E-4D4A-AA75-125DF35A1CB8}"/>
              </a:ext>
            </a:extLst>
          </p:cNvPr>
          <p:cNvSpPr>
            <a:spLocks noGrp="1"/>
          </p:cNvSpPr>
          <p:nvPr>
            <p:ph sz="quarter" idx="16"/>
          </p:nvPr>
        </p:nvSpPr>
        <p:spPr>
          <a:xfrm>
            <a:off x="6500071" y="1644651"/>
            <a:ext cx="4888549"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1B842E0E-6D91-4141-882C-6C91050C6F2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8" name="Date_DateCustomA">
            <a:extLst>
              <a:ext uri="{FF2B5EF4-FFF2-40B4-BE49-F238E27FC236}">
                <a16:creationId xmlns:a16="http://schemas.microsoft.com/office/drawing/2014/main" id="{C64885CE-5A72-464C-A675-4AEA666E3E6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51C8650-3279-4A76-90A4-98B51440301C}" type="datetime1">
              <a:rPr lang="en-GB" smtClean="0"/>
              <a:t>20/06/2024</a:t>
            </a:fld>
            <a:endParaRPr lang="en-GB" dirty="0"/>
          </a:p>
        </p:txBody>
      </p:sp>
    </p:spTree>
    <p:extLst>
      <p:ext uri="{BB962C8B-B14F-4D97-AF65-F5344CB8AC3E}">
        <p14:creationId xmlns:p14="http://schemas.microsoft.com/office/powerpoint/2010/main" val="55686540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4072467"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3" name="Content Placeholder 4">
            <a:extLst>
              <a:ext uri="{FF2B5EF4-FFF2-40B4-BE49-F238E27FC236}">
                <a16:creationId xmlns:a16="http://schemas.microsoft.com/office/drawing/2014/main" id="{535335C1-5736-449E-B5A3-80EF8EFB92D0}"/>
              </a:ext>
            </a:extLst>
          </p:cNvPr>
          <p:cNvSpPr>
            <a:spLocks noGrp="1"/>
          </p:cNvSpPr>
          <p:nvPr>
            <p:ph sz="quarter" idx="16"/>
          </p:nvPr>
        </p:nvSpPr>
        <p:spPr>
          <a:xfrm>
            <a:off x="5685579" y="1644651"/>
            <a:ext cx="5703042"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4485281A-363B-4F1C-8128-EA4AF52562B6}"/>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8" name="Date_DateCustomA">
            <a:extLst>
              <a:ext uri="{FF2B5EF4-FFF2-40B4-BE49-F238E27FC236}">
                <a16:creationId xmlns:a16="http://schemas.microsoft.com/office/drawing/2014/main" id="{B0E6362C-AD60-4A3E-B1BD-8ACCD0B3D70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B13202A9-DE11-408D-9B8A-7630BF567349}" type="datetime1">
              <a:rPr lang="en-GB" smtClean="0"/>
              <a:t>20/06/2024</a:t>
            </a:fld>
            <a:endParaRPr lang="en-GB" dirty="0"/>
          </a:p>
        </p:txBody>
      </p:sp>
    </p:spTree>
    <p:extLst>
      <p:ext uri="{BB962C8B-B14F-4D97-AF65-F5344CB8AC3E}">
        <p14:creationId xmlns:p14="http://schemas.microsoft.com/office/powerpoint/2010/main" val="21994591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5701454"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Content Placeholder 4">
            <a:extLst>
              <a:ext uri="{FF2B5EF4-FFF2-40B4-BE49-F238E27FC236}">
                <a16:creationId xmlns:a16="http://schemas.microsoft.com/office/drawing/2014/main" id="{414EC495-A6B9-4C60-A011-7047269C9CE9}"/>
              </a:ext>
            </a:extLst>
          </p:cNvPr>
          <p:cNvSpPr>
            <a:spLocks noGrp="1"/>
          </p:cNvSpPr>
          <p:nvPr>
            <p:ph sz="quarter" idx="16"/>
          </p:nvPr>
        </p:nvSpPr>
        <p:spPr>
          <a:xfrm>
            <a:off x="7314565" y="1644651"/>
            <a:ext cx="4074055"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B60EC9E1-A6E7-4EDC-A604-820C98771D2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9" name="Date_DateCustomA">
            <a:extLst>
              <a:ext uri="{FF2B5EF4-FFF2-40B4-BE49-F238E27FC236}">
                <a16:creationId xmlns:a16="http://schemas.microsoft.com/office/drawing/2014/main" id="{73643761-53E5-4729-8F9C-AC57323CEE05}"/>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620D795-7D6C-4DDD-9364-2C8C35AA87F6}" type="datetime1">
              <a:rPr lang="en-GB" smtClean="0"/>
              <a:t>20/06/2024</a:t>
            </a:fld>
            <a:endParaRPr lang="en-GB" dirty="0"/>
          </a:p>
        </p:txBody>
      </p:sp>
    </p:spTree>
    <p:extLst>
      <p:ext uri="{BB962C8B-B14F-4D97-AF65-F5344CB8AC3E}">
        <p14:creationId xmlns:p14="http://schemas.microsoft.com/office/powerpoint/2010/main" val="18488173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D3BE60-37F6-4FB6-8D33-8CFF25DED6D0}"/>
              </a:ext>
            </a:extLst>
          </p:cNvPr>
          <p:cNvGraphicFramePr>
            <a:graphicFrameLocks noChangeAspect="1"/>
          </p:cNvGraphicFramePr>
          <p:nvPr userDrawn="1">
            <p:custDataLst>
              <p:tags r:id="rId1"/>
            </p:custDataLst>
            <p:extLst>
              <p:ext uri="{D42A27DB-BD31-4B8C-83A1-F6EECF244321}">
                <p14:modId xmlns:p14="http://schemas.microsoft.com/office/powerpoint/2010/main" val="259510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54D3BE60-37F6-4FB6-8D33-8CFF25DED6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20-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 and icon (A)">
    <p:spTree>
      <p:nvGrpSpPr>
        <p:cNvPr id="1" name=""/>
        <p:cNvGrpSpPr/>
        <p:nvPr/>
      </p:nvGrpSpPr>
      <p:grpSpPr>
        <a:xfrm>
          <a:off x="0" y="0"/>
          <a:ext cx="0" cy="0"/>
          <a:chOff x="0" y="0"/>
          <a:chExt cx="0" cy="0"/>
        </a:xfrm>
      </p:grpSpPr>
      <p:sp>
        <p:nvSpPr>
          <p:cNvPr id="4" name="Title 1"/>
          <p:cNvSpPr>
            <a:spLocks noGrp="1"/>
          </p:cNvSpPr>
          <p:nvPr>
            <p:ph type="title"/>
          </p:nvPr>
        </p:nvSpPr>
        <p:spPr>
          <a:xfrm>
            <a:off x="798618" y="452439"/>
            <a:ext cx="8959428" cy="748626"/>
          </a:xfrm>
        </p:spPr>
        <p:txBody>
          <a:bodyPr/>
          <a:lstStyle/>
          <a:p>
            <a:r>
              <a:rPr lang="en-US"/>
              <a:t>Click to edit Master title style</a:t>
            </a:r>
            <a:endParaRPr lang="en-GB" dirty="0"/>
          </a:p>
        </p:txBody>
      </p:sp>
      <p:sp>
        <p:nvSpPr>
          <p:cNvPr id="3" name="Content Placeholder 2"/>
          <p:cNvSpPr>
            <a:spLocks noGrp="1"/>
          </p:cNvSpPr>
          <p:nvPr>
            <p:ph idx="1" hasCustomPrompt="1"/>
          </p:nvPr>
        </p:nvSpPr>
        <p:spPr>
          <a:xfrm>
            <a:off x="798617" y="1644652"/>
            <a:ext cx="10590003"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Picture Placeholder 3">
            <a:extLst>
              <a:ext uri="{FF2B5EF4-FFF2-40B4-BE49-F238E27FC236}">
                <a16:creationId xmlns:a16="http://schemas.microsoft.com/office/drawing/2014/main" id="{6FB39600-48A6-438C-ACEE-E7C3FBF9C3A2}"/>
              </a:ext>
            </a:extLst>
          </p:cNvPr>
          <p:cNvSpPr>
            <a:spLocks noGrp="1"/>
          </p:cNvSpPr>
          <p:nvPr>
            <p:ph type="pic" sz="quarter" idx="11" hasCustomPrompt="1"/>
          </p:nvPr>
        </p:nvSpPr>
        <p:spPr>
          <a:xfrm>
            <a:off x="10572540" y="452439"/>
            <a:ext cx="801068" cy="800779"/>
          </a:xfrm>
          <a:noFill/>
          <a:ln>
            <a:noFill/>
          </a:ln>
        </p:spPr>
        <p:txBody>
          <a:bodyPr lIns="38399" tIns="0" anchor="t" anchorCtr="0"/>
          <a:lstStyle>
            <a:lvl1pPr marL="0" indent="0">
              <a:buNone/>
              <a:defRPr sz="577">
                <a:solidFill>
                  <a:schemeClr val="tx1"/>
                </a:solidFill>
              </a:defRPr>
            </a:lvl1pPr>
          </a:lstStyle>
          <a:p>
            <a:r>
              <a:rPr lang="en-GB" noProof="0"/>
              <a:t>ic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C4DE7E55-1B3D-4B43-B1B5-DE5E4FAB9891}"/>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8" name="Date_DateCustomA">
            <a:extLst>
              <a:ext uri="{FF2B5EF4-FFF2-40B4-BE49-F238E27FC236}">
                <a16:creationId xmlns:a16="http://schemas.microsoft.com/office/drawing/2014/main" id="{F5D459F2-4C14-4DC3-8A9D-B1E9DF21E4C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B90C0BA-1BD5-469D-8018-C447C1EB2A93}" type="datetime1">
              <a:rPr lang="en-GB" smtClean="0"/>
              <a:t>20/06/2024</a:t>
            </a:fld>
            <a:endParaRPr lang="en-GB" dirty="0"/>
          </a:p>
        </p:txBody>
      </p:sp>
    </p:spTree>
    <p:extLst>
      <p:ext uri="{BB962C8B-B14F-4D97-AF65-F5344CB8AC3E}">
        <p14:creationId xmlns:p14="http://schemas.microsoft.com/office/powerpoint/2010/main" val="209254986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and icon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618" y="1644652"/>
            <a:ext cx="8959428"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10572539" y="1644654"/>
            <a:ext cx="818271" cy="817975"/>
          </a:xfrm>
          <a:noFill/>
          <a:ln>
            <a:noFill/>
          </a:ln>
        </p:spPr>
        <p:txBody>
          <a:bodyPr lIns="38399" tIns="0" anchor="t" anchorCtr="0"/>
          <a:lstStyle>
            <a:lvl1pPr marL="0" indent="0">
              <a:buNone/>
              <a:defRPr sz="577">
                <a:solidFill>
                  <a:schemeClr val="tx1"/>
                </a:solidFill>
              </a:defRPr>
            </a:lvl1pPr>
          </a:lstStyle>
          <a:p>
            <a:r>
              <a:rPr lang="en-GB" noProof="0"/>
              <a:t>ic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E31502FD-B05E-464F-8932-42D027579D97}"/>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9" name="Date_DateCustomA">
            <a:extLst>
              <a:ext uri="{FF2B5EF4-FFF2-40B4-BE49-F238E27FC236}">
                <a16:creationId xmlns:a16="http://schemas.microsoft.com/office/drawing/2014/main" id="{AA65EC4C-43E8-483C-B54B-30D5535BB4C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02DADF78-B3EF-4042-B2F9-5AAFBCE5A22E}" type="datetime1">
              <a:rPr lang="en-GB" smtClean="0"/>
              <a:t>20/06/2024</a:t>
            </a:fld>
            <a:endParaRPr lang="en-GB" dirty="0"/>
          </a:p>
        </p:txBody>
      </p:sp>
    </p:spTree>
    <p:extLst>
      <p:ext uri="{BB962C8B-B14F-4D97-AF65-F5344CB8AC3E}">
        <p14:creationId xmlns:p14="http://schemas.microsoft.com/office/powerpoint/2010/main" val="261594528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and illustration (A)">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618" y="1644652"/>
            <a:ext cx="6515948"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8129058" y="1644653"/>
            <a:ext cx="3259562" cy="3239941"/>
          </a:xfrm>
          <a:noFill/>
          <a:ln>
            <a:noFill/>
          </a:ln>
        </p:spPr>
        <p:txBody>
          <a:bodyPr lIns="38399" tIns="0" anchor="t" anchorCtr="0"/>
          <a:lstStyle>
            <a:lvl1pPr marL="0" indent="0">
              <a:buNone/>
              <a:defRPr sz="577">
                <a:solidFill>
                  <a:schemeClr val="tx1"/>
                </a:solidFill>
              </a:defRPr>
            </a:lvl1pPr>
          </a:lstStyle>
          <a:p>
            <a:r>
              <a:rPr lang="en-GB">
                <a:effectLst/>
              </a:rPr>
              <a:t>illustrati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FB97A6BE-821A-4BF5-AFE7-9A048351C6D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9" name="Date_DateCustomA">
            <a:extLst>
              <a:ext uri="{FF2B5EF4-FFF2-40B4-BE49-F238E27FC236}">
                <a16:creationId xmlns:a16="http://schemas.microsoft.com/office/drawing/2014/main" id="{11815BEB-2C63-4CBF-9795-6F15022666B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BA51A42-5836-428D-B66B-B65A92E2CCAA}" type="datetime1">
              <a:rPr lang="en-GB" smtClean="0"/>
              <a:t>20/06/2024</a:t>
            </a:fld>
            <a:endParaRPr lang="en-GB" dirty="0"/>
          </a:p>
        </p:txBody>
      </p:sp>
    </p:spTree>
    <p:extLst>
      <p:ext uri="{BB962C8B-B14F-4D97-AF65-F5344CB8AC3E}">
        <p14:creationId xmlns:p14="http://schemas.microsoft.com/office/powerpoint/2010/main" val="15573046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and  illustration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5701454"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Picture Placeholder 4">
            <a:extLst>
              <a:ext uri="{FF2B5EF4-FFF2-40B4-BE49-F238E27FC236}">
                <a16:creationId xmlns:a16="http://schemas.microsoft.com/office/drawing/2014/main" id="{286587FC-F18B-4FBE-8CD2-663B9BA8C734}"/>
              </a:ext>
            </a:extLst>
          </p:cNvPr>
          <p:cNvSpPr>
            <a:spLocks noGrp="1"/>
          </p:cNvSpPr>
          <p:nvPr>
            <p:ph type="pic" sz="quarter" idx="14" hasCustomPrompt="1"/>
          </p:nvPr>
        </p:nvSpPr>
        <p:spPr>
          <a:xfrm>
            <a:off x="7314567" y="1644269"/>
            <a:ext cx="4074055" cy="4062797"/>
          </a:xfrm>
        </p:spPr>
        <p:txBody>
          <a:bodyPr/>
          <a:lstStyle>
            <a:lvl1pPr marL="0" indent="0">
              <a:buNone/>
              <a:defRPr/>
            </a:lvl1pPr>
          </a:lstStyle>
          <a:p>
            <a:r>
              <a:rPr lang="en-GB">
                <a:effectLst/>
              </a:rPr>
              <a:t>illustrati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9B89233D-8149-4491-95B2-DE11051C861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8" name="Date_DateCustomA">
            <a:extLst>
              <a:ext uri="{FF2B5EF4-FFF2-40B4-BE49-F238E27FC236}">
                <a16:creationId xmlns:a16="http://schemas.microsoft.com/office/drawing/2014/main" id="{D2C9554E-F561-4DDA-B278-92702108D9B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136937CD-C8B6-42FA-9EC6-EF300AFFE646}" type="datetime1">
              <a:rPr lang="en-GB" smtClean="0"/>
              <a:t>20/06/2024</a:t>
            </a:fld>
            <a:endParaRPr lang="en-GB" dirty="0"/>
          </a:p>
        </p:txBody>
      </p:sp>
    </p:spTree>
    <p:extLst>
      <p:ext uri="{BB962C8B-B14F-4D97-AF65-F5344CB8AC3E}">
        <p14:creationId xmlns:p14="http://schemas.microsoft.com/office/powerpoint/2010/main" val="348641817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and fact text">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618" y="1644652"/>
            <a:ext cx="7330441"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6">
            <a:extLst>
              <a:ext uri="{FF2B5EF4-FFF2-40B4-BE49-F238E27FC236}">
                <a16:creationId xmlns:a16="http://schemas.microsoft.com/office/drawing/2014/main" id="{89007D2D-A158-459C-BE2E-0A1D348DA7C9}"/>
              </a:ext>
            </a:extLst>
          </p:cNvPr>
          <p:cNvSpPr>
            <a:spLocks noGrp="1"/>
          </p:cNvSpPr>
          <p:nvPr>
            <p:ph type="body" sz="quarter" idx="15" hasCustomPrompt="1"/>
          </p:nvPr>
        </p:nvSpPr>
        <p:spPr>
          <a:xfrm>
            <a:off x="8943552" y="1644391"/>
            <a:ext cx="244506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3</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13" name="Text Placeholder 6">
            <a:extLst>
              <a:ext uri="{FF2B5EF4-FFF2-40B4-BE49-F238E27FC236}">
                <a16:creationId xmlns:a16="http://schemas.microsoft.com/office/drawing/2014/main" id="{99C5C721-7970-4C21-B42B-33753616C1B3}"/>
              </a:ext>
            </a:extLst>
          </p:cNvPr>
          <p:cNvSpPr>
            <a:spLocks noGrp="1"/>
          </p:cNvSpPr>
          <p:nvPr>
            <p:ph type="body" sz="quarter" idx="14" hasCustomPrompt="1"/>
          </p:nvPr>
        </p:nvSpPr>
        <p:spPr>
          <a:xfrm>
            <a:off x="8943553" y="4991259"/>
            <a:ext cx="2445068" cy="715807"/>
          </a:xfrm>
        </p:spPr>
        <p:txBody>
          <a:bodyPr lIns="0" anchor="b" anchorCtr="0"/>
          <a:lstStyle>
            <a:lvl1pPr marL="73310" indent="-73310">
              <a:lnSpc>
                <a:spcPct val="80000"/>
              </a:lnSpc>
              <a:spcAft>
                <a:spcPts val="385"/>
              </a:spcAft>
              <a:buFont typeface="+mj-lt"/>
              <a:buAutoNum type="arabicParenR"/>
              <a:defRPr sz="321" b="0" i="1" cap="none" spc="0" baseline="0">
                <a:solidFill>
                  <a:schemeClr val="bg2"/>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Note</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grpSp>
        <p:nvGrpSpPr>
          <p:cNvPr id="3" name="Group 2">
            <a:extLst>
              <a:ext uri="{FF2B5EF4-FFF2-40B4-BE49-F238E27FC236}">
                <a16:creationId xmlns:a16="http://schemas.microsoft.com/office/drawing/2014/main" id="{CBDD567F-EFA3-4304-9F2D-5128B34EFFF1}"/>
              </a:ext>
            </a:extLst>
          </p:cNvPr>
          <p:cNvGrpSpPr/>
          <p:nvPr userDrawn="1"/>
        </p:nvGrpSpPr>
        <p:grpSpPr>
          <a:xfrm>
            <a:off x="12341465" y="1633992"/>
            <a:ext cx="1797025" cy="2906915"/>
            <a:chOff x="12403271" y="-1"/>
            <a:chExt cx="1796791" cy="2907588"/>
          </a:xfrm>
        </p:grpSpPr>
        <p:pic>
          <p:nvPicPr>
            <p:cNvPr id="9" name="Picture 8">
              <a:extLst>
                <a:ext uri="{FF2B5EF4-FFF2-40B4-BE49-F238E27FC236}">
                  <a16:creationId xmlns:a16="http://schemas.microsoft.com/office/drawing/2014/main" id="{760E582F-46F7-4DF2-ABCB-E07E85419FF4}"/>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2" name="Group 11">
              <a:extLst>
                <a:ext uri="{FF2B5EF4-FFF2-40B4-BE49-F238E27FC236}">
                  <a16:creationId xmlns:a16="http://schemas.microsoft.com/office/drawing/2014/main" id="{FA367DCD-123C-45F4-87EB-1586FA603E3A}"/>
                </a:ext>
              </a:extLst>
            </p:cNvPr>
            <p:cNvGrpSpPr/>
            <p:nvPr userDrawn="1"/>
          </p:nvGrpSpPr>
          <p:grpSpPr>
            <a:xfrm>
              <a:off x="12403271" y="-1"/>
              <a:ext cx="1796791" cy="2907588"/>
              <a:chOff x="9009867" y="1645032"/>
              <a:chExt cx="2365739" cy="3828268"/>
            </a:xfrm>
          </p:grpSpPr>
          <p:pic>
            <p:nvPicPr>
              <p:cNvPr id="15" name="Picture 14">
                <a:extLst>
                  <a:ext uri="{FF2B5EF4-FFF2-40B4-BE49-F238E27FC236}">
                    <a16:creationId xmlns:a16="http://schemas.microsoft.com/office/drawing/2014/main" id="{132FA97E-008F-4B07-B688-A7B22404D82A}"/>
                  </a:ext>
                </a:extLst>
              </p:cNvPr>
              <p:cNvPicPr>
                <a:picLocks noChangeAspect="1"/>
              </p:cNvPicPr>
              <p:nvPr/>
            </p:nvPicPr>
            <p:blipFill>
              <a:blip r:embed="rId3"/>
              <a:stretch>
                <a:fillRect/>
              </a:stretch>
            </p:blipFill>
            <p:spPr>
              <a:xfrm>
                <a:off x="9182748" y="1852126"/>
                <a:ext cx="599367" cy="280555"/>
              </a:xfrm>
              <a:prstGeom prst="rect">
                <a:avLst/>
              </a:prstGeom>
            </p:spPr>
          </p:pic>
          <p:sp>
            <p:nvSpPr>
              <p:cNvPr id="16" name="TextBox 15">
                <a:extLst>
                  <a:ext uri="{FF2B5EF4-FFF2-40B4-BE49-F238E27FC236}">
                    <a16:creationId xmlns:a16="http://schemas.microsoft.com/office/drawing/2014/main" id="{8F49FA4C-A0C7-484D-9CD0-A2B1528B3A2E}"/>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7" name="Rectangle: Rounded Corners 16">
                <a:extLst>
                  <a:ext uri="{FF2B5EF4-FFF2-40B4-BE49-F238E27FC236}">
                    <a16:creationId xmlns:a16="http://schemas.microsoft.com/office/drawing/2014/main" id="{93B8FE7B-9EF6-429C-AC7B-79E85DFB481D}"/>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dirty="0">
                  <a:solidFill>
                    <a:schemeClr val="accent3"/>
                  </a:solidFill>
                </a:endParaRPr>
              </a:p>
            </p:txBody>
          </p:sp>
        </p:grpSp>
      </p:grpSp>
      <p:sp>
        <p:nvSpPr>
          <p:cNvPr id="14" name="Footer Placeholder 4">
            <a:extLst>
              <a:ext uri="{FF2B5EF4-FFF2-40B4-BE49-F238E27FC236}">
                <a16:creationId xmlns:a16="http://schemas.microsoft.com/office/drawing/2014/main" id="{67D61A51-31AF-4082-AFF9-2D4AE9DB7C87}"/>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9" name="Date_DateCustomA">
            <a:extLst>
              <a:ext uri="{FF2B5EF4-FFF2-40B4-BE49-F238E27FC236}">
                <a16:creationId xmlns:a16="http://schemas.microsoft.com/office/drawing/2014/main" id="{8BB7FA2D-0C66-4D42-8CC8-567BD958137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6E10093C-62DA-496A-9DBF-6F8D26F3BF2E}" type="datetime1">
              <a:rPr lang="en-GB" smtClean="0"/>
              <a:t>20/06/2024</a:t>
            </a:fld>
            <a:endParaRPr lang="en-GB" dirty="0"/>
          </a:p>
        </p:txBody>
      </p:sp>
    </p:spTree>
    <p:extLst>
      <p:ext uri="{BB962C8B-B14F-4D97-AF65-F5344CB8AC3E}">
        <p14:creationId xmlns:p14="http://schemas.microsoft.com/office/powerpoint/2010/main" val="54001321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and two fact texts">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618" y="1644652"/>
            <a:ext cx="4072466"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6">
            <a:extLst>
              <a:ext uri="{FF2B5EF4-FFF2-40B4-BE49-F238E27FC236}">
                <a16:creationId xmlns:a16="http://schemas.microsoft.com/office/drawing/2014/main" id="{559CAE46-C6D8-48BD-A372-1CDE93E9CCA9}"/>
              </a:ext>
            </a:extLst>
          </p:cNvPr>
          <p:cNvSpPr>
            <a:spLocks noGrp="1"/>
          </p:cNvSpPr>
          <p:nvPr>
            <p:ph type="body" sz="quarter" idx="13" hasCustomPrompt="1"/>
          </p:nvPr>
        </p:nvSpPr>
        <p:spPr>
          <a:xfrm>
            <a:off x="5685579" y="1644391"/>
            <a:ext cx="244347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8" name="Text Placeholder 6">
            <a:extLst>
              <a:ext uri="{FF2B5EF4-FFF2-40B4-BE49-F238E27FC236}">
                <a16:creationId xmlns:a16="http://schemas.microsoft.com/office/drawing/2014/main" id="{67908BB7-3AA9-46B8-9F51-F98F86B5DB18}"/>
              </a:ext>
            </a:extLst>
          </p:cNvPr>
          <p:cNvSpPr>
            <a:spLocks noGrp="1"/>
          </p:cNvSpPr>
          <p:nvPr>
            <p:ph type="body" sz="quarter" idx="14" hasCustomPrompt="1"/>
          </p:nvPr>
        </p:nvSpPr>
        <p:spPr>
          <a:xfrm>
            <a:off x="8943553" y="1644391"/>
            <a:ext cx="2445068"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grpSp>
        <p:nvGrpSpPr>
          <p:cNvPr id="16" name="Group 15">
            <a:extLst>
              <a:ext uri="{FF2B5EF4-FFF2-40B4-BE49-F238E27FC236}">
                <a16:creationId xmlns:a16="http://schemas.microsoft.com/office/drawing/2014/main" id="{F92F4B53-30AD-4697-89D7-9D962CE965E5}"/>
              </a:ext>
            </a:extLst>
          </p:cNvPr>
          <p:cNvGrpSpPr/>
          <p:nvPr userDrawn="1"/>
        </p:nvGrpSpPr>
        <p:grpSpPr>
          <a:xfrm>
            <a:off x="12341465" y="1633992"/>
            <a:ext cx="1797025" cy="2906915"/>
            <a:chOff x="12403271" y="-1"/>
            <a:chExt cx="1796791" cy="2907588"/>
          </a:xfrm>
        </p:grpSpPr>
        <p:pic>
          <p:nvPicPr>
            <p:cNvPr id="17" name="Picture 16">
              <a:extLst>
                <a:ext uri="{FF2B5EF4-FFF2-40B4-BE49-F238E27FC236}">
                  <a16:creationId xmlns:a16="http://schemas.microsoft.com/office/drawing/2014/main" id="{AF0FEF35-0958-440B-A77A-2699A83990A6}"/>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8" name="Group 17">
              <a:extLst>
                <a:ext uri="{FF2B5EF4-FFF2-40B4-BE49-F238E27FC236}">
                  <a16:creationId xmlns:a16="http://schemas.microsoft.com/office/drawing/2014/main" id="{24203BB4-30A9-4057-A809-926EDEDB9F4F}"/>
                </a:ext>
              </a:extLst>
            </p:cNvPr>
            <p:cNvGrpSpPr/>
            <p:nvPr userDrawn="1"/>
          </p:nvGrpSpPr>
          <p:grpSpPr>
            <a:xfrm>
              <a:off x="12403271" y="-1"/>
              <a:ext cx="1796791" cy="2907588"/>
              <a:chOff x="9009867" y="1645032"/>
              <a:chExt cx="2365739" cy="3828268"/>
            </a:xfrm>
          </p:grpSpPr>
          <p:pic>
            <p:nvPicPr>
              <p:cNvPr id="19" name="Picture 18">
                <a:extLst>
                  <a:ext uri="{FF2B5EF4-FFF2-40B4-BE49-F238E27FC236}">
                    <a16:creationId xmlns:a16="http://schemas.microsoft.com/office/drawing/2014/main" id="{7139BD4A-714C-44AF-902B-B7BB51BF1ECF}"/>
                  </a:ext>
                </a:extLst>
              </p:cNvPr>
              <p:cNvPicPr>
                <a:picLocks noChangeAspect="1"/>
              </p:cNvPicPr>
              <p:nvPr/>
            </p:nvPicPr>
            <p:blipFill>
              <a:blip r:embed="rId3"/>
              <a:stretch>
                <a:fillRect/>
              </a:stretch>
            </p:blipFill>
            <p:spPr>
              <a:xfrm>
                <a:off x="9182748" y="1852126"/>
                <a:ext cx="599367" cy="280555"/>
              </a:xfrm>
              <a:prstGeom prst="rect">
                <a:avLst/>
              </a:prstGeom>
            </p:spPr>
          </p:pic>
          <p:sp>
            <p:nvSpPr>
              <p:cNvPr id="20" name="TextBox 19">
                <a:extLst>
                  <a:ext uri="{FF2B5EF4-FFF2-40B4-BE49-F238E27FC236}">
                    <a16:creationId xmlns:a16="http://schemas.microsoft.com/office/drawing/2014/main" id="{FBB5C133-0407-4A77-B2F7-7E365D047DE4}"/>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1BBC228B-197B-44A3-99D0-D56237507B14}"/>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dirty="0">
                  <a:solidFill>
                    <a:schemeClr val="accent3"/>
                  </a:solidFill>
                </a:endParaRPr>
              </a:p>
            </p:txBody>
          </p:sp>
        </p:grpSp>
      </p:grpSp>
      <p:sp>
        <p:nvSpPr>
          <p:cNvPr id="13" name="Footer Placeholder 4">
            <a:extLst>
              <a:ext uri="{FF2B5EF4-FFF2-40B4-BE49-F238E27FC236}">
                <a16:creationId xmlns:a16="http://schemas.microsoft.com/office/drawing/2014/main" id="{CE9B38D5-AD3D-4AE8-88F2-0F9D25BB30C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5" name="Date_DateCustomA">
            <a:extLst>
              <a:ext uri="{FF2B5EF4-FFF2-40B4-BE49-F238E27FC236}">
                <a16:creationId xmlns:a16="http://schemas.microsoft.com/office/drawing/2014/main" id="{1AC23FC6-140A-4E04-B1F9-995F52FC873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79F0066-3164-42E7-92E6-6ECB81B57310}" type="datetime1">
              <a:rPr lang="en-GB" smtClean="0"/>
              <a:t>20/06/2024</a:t>
            </a:fld>
            <a:endParaRPr lang="en-GB" dirty="0"/>
          </a:p>
        </p:txBody>
      </p:sp>
    </p:spTree>
    <p:extLst>
      <p:ext uri="{BB962C8B-B14F-4D97-AF65-F5344CB8AC3E}">
        <p14:creationId xmlns:p14="http://schemas.microsoft.com/office/powerpoint/2010/main" val="403410252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act text and conten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868B673-9D9F-4BF4-8D81-D1B3477E6F0F}"/>
              </a:ext>
            </a:extLst>
          </p:cNvPr>
          <p:cNvGrpSpPr/>
          <p:nvPr userDrawn="1"/>
        </p:nvGrpSpPr>
        <p:grpSpPr>
          <a:xfrm>
            <a:off x="-1972350" y="1633992"/>
            <a:ext cx="1797025" cy="2906915"/>
            <a:chOff x="12339857" y="1634370"/>
            <a:chExt cx="1796791" cy="2907588"/>
          </a:xfrm>
        </p:grpSpPr>
        <p:sp>
          <p:nvSpPr>
            <p:cNvPr id="19" name="Rectangle: Rounded Corners 18">
              <a:extLst>
                <a:ext uri="{FF2B5EF4-FFF2-40B4-BE49-F238E27FC236}">
                  <a16:creationId xmlns:a16="http://schemas.microsoft.com/office/drawing/2014/main" id="{9F61C6D9-96E6-46EB-8545-E257C98220F8}"/>
                </a:ext>
              </a:extLst>
            </p:cNvPr>
            <p:cNvSpPr/>
            <p:nvPr/>
          </p:nvSpPr>
          <p:spPr>
            <a:xfrm>
              <a:off x="12339857" y="1634370"/>
              <a:ext cx="1796791" cy="290758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dirty="0">
                <a:solidFill>
                  <a:schemeClr val="accent3"/>
                </a:solidFill>
              </a:endParaRPr>
            </a:p>
          </p:txBody>
        </p:sp>
        <p:pic>
          <p:nvPicPr>
            <p:cNvPr id="17" name="Picture 16">
              <a:extLst>
                <a:ext uri="{FF2B5EF4-FFF2-40B4-BE49-F238E27FC236}">
                  <a16:creationId xmlns:a16="http://schemas.microsoft.com/office/drawing/2014/main" id="{23EC8C10-6A9E-4C2B-B6BA-69C39462851D}"/>
                </a:ext>
              </a:extLst>
            </p:cNvPr>
            <p:cNvPicPr>
              <a:picLocks noChangeAspect="1"/>
            </p:cNvPicPr>
            <p:nvPr/>
          </p:nvPicPr>
          <p:blipFill>
            <a:blip r:embed="rId2"/>
            <a:stretch>
              <a:fillRect/>
            </a:stretch>
          </p:blipFill>
          <p:spPr>
            <a:xfrm>
              <a:off x="12471161" y="1791659"/>
              <a:ext cx="455222" cy="213083"/>
            </a:xfrm>
            <a:prstGeom prst="rect">
              <a:avLst/>
            </a:prstGeom>
          </p:spPr>
        </p:pic>
        <p:sp>
          <p:nvSpPr>
            <p:cNvPr id="18" name="TextBox 17">
              <a:extLst>
                <a:ext uri="{FF2B5EF4-FFF2-40B4-BE49-F238E27FC236}">
                  <a16:creationId xmlns:a16="http://schemas.microsoft.com/office/drawing/2014/main" id="{BF580C90-4416-41DC-ADAC-F1014BB16E65}"/>
                </a:ext>
              </a:extLst>
            </p:cNvPr>
            <p:cNvSpPr txBox="1"/>
            <p:nvPr/>
          </p:nvSpPr>
          <p:spPr bwMode="auto">
            <a:xfrm>
              <a:off x="12483714" y="2086228"/>
              <a:ext cx="1433633" cy="10351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pic>
          <p:nvPicPr>
            <p:cNvPr id="15" name="Picture 14">
              <a:extLst>
                <a:ext uri="{FF2B5EF4-FFF2-40B4-BE49-F238E27FC236}">
                  <a16:creationId xmlns:a16="http://schemas.microsoft.com/office/drawing/2014/main" id="{22C7FA45-BEB8-4FA0-89DA-4AF47CEA9ACF}"/>
                </a:ext>
              </a:extLst>
            </p:cNvPr>
            <p:cNvPicPr>
              <a:picLocks noChangeAspect="1"/>
            </p:cNvPicPr>
            <p:nvPr userDrawn="1"/>
          </p:nvPicPr>
          <p:blipFill>
            <a:blip r:embed="rId3"/>
            <a:stretch>
              <a:fillRect/>
            </a:stretch>
          </p:blipFill>
          <p:spPr>
            <a:xfrm>
              <a:off x="12351204" y="2757038"/>
              <a:ext cx="1261627" cy="1565633"/>
            </a:xfrm>
            <a:prstGeom prst="rect">
              <a:avLst/>
            </a:prstGeom>
          </p:spPr>
        </p:pic>
      </p:grpSp>
      <p:grpSp>
        <p:nvGrpSpPr>
          <p:cNvPr id="21" name="Group 20">
            <a:extLst>
              <a:ext uri="{FF2B5EF4-FFF2-40B4-BE49-F238E27FC236}">
                <a16:creationId xmlns:a16="http://schemas.microsoft.com/office/drawing/2014/main" id="{21327CDE-D280-433E-A1DD-9B88BC9A9D74}"/>
              </a:ext>
            </a:extLst>
          </p:cNvPr>
          <p:cNvGrpSpPr/>
          <p:nvPr userDrawn="1"/>
        </p:nvGrpSpPr>
        <p:grpSpPr>
          <a:xfrm>
            <a:off x="12341465" y="1633992"/>
            <a:ext cx="1797025" cy="2906915"/>
            <a:chOff x="-1899137" y="-1"/>
            <a:chExt cx="1796791" cy="2907588"/>
          </a:xfrm>
        </p:grpSpPr>
        <p:grpSp>
          <p:nvGrpSpPr>
            <p:cNvPr id="22" name="Group 21">
              <a:extLst>
                <a:ext uri="{FF2B5EF4-FFF2-40B4-BE49-F238E27FC236}">
                  <a16:creationId xmlns:a16="http://schemas.microsoft.com/office/drawing/2014/main" id="{4AE14B58-12EA-4B20-8931-337F0DC7BE74}"/>
                </a:ext>
              </a:extLst>
            </p:cNvPr>
            <p:cNvGrpSpPr/>
            <p:nvPr userDrawn="1"/>
          </p:nvGrpSpPr>
          <p:grpSpPr>
            <a:xfrm>
              <a:off x="-1899137" y="-1"/>
              <a:ext cx="1796791" cy="2907588"/>
              <a:chOff x="9009867" y="1645032"/>
              <a:chExt cx="2365739" cy="3828268"/>
            </a:xfrm>
          </p:grpSpPr>
          <p:pic>
            <p:nvPicPr>
              <p:cNvPr id="24" name="Picture 23">
                <a:extLst>
                  <a:ext uri="{FF2B5EF4-FFF2-40B4-BE49-F238E27FC236}">
                    <a16:creationId xmlns:a16="http://schemas.microsoft.com/office/drawing/2014/main" id="{E1E15413-4664-4681-9444-310804612302}"/>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5" name="TextBox 24">
                <a:extLst>
                  <a:ext uri="{FF2B5EF4-FFF2-40B4-BE49-F238E27FC236}">
                    <a16:creationId xmlns:a16="http://schemas.microsoft.com/office/drawing/2014/main" id="{D2D38E9D-D309-4835-BB4A-24E940357F1D}"/>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6" name="Rectangle: Rounded Corners 25">
                <a:extLst>
                  <a:ext uri="{FF2B5EF4-FFF2-40B4-BE49-F238E27FC236}">
                    <a16:creationId xmlns:a16="http://schemas.microsoft.com/office/drawing/2014/main" id="{3408A5E0-BE3B-4CF6-B031-C7BDEAE8EF42}"/>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dirty="0">
                  <a:solidFill>
                    <a:schemeClr val="accent3"/>
                  </a:solidFill>
                </a:endParaRPr>
              </a:p>
            </p:txBody>
          </p:sp>
        </p:grpSp>
        <p:pic>
          <p:nvPicPr>
            <p:cNvPr id="23" name="Picture 22">
              <a:extLst>
                <a:ext uri="{FF2B5EF4-FFF2-40B4-BE49-F238E27FC236}">
                  <a16:creationId xmlns:a16="http://schemas.microsoft.com/office/drawing/2014/main" id="{74467B95-2571-401A-B1E8-0E4825008764}"/>
                </a:ext>
              </a:extLst>
            </p:cNvPr>
            <p:cNvPicPr>
              <a:picLocks noChangeAspect="1"/>
            </p:cNvPicPr>
            <p:nvPr userDrawn="1"/>
          </p:nvPicPr>
          <p:blipFill>
            <a:blip r:embed="rId4"/>
            <a:stretch>
              <a:fillRect/>
            </a:stretch>
          </p:blipFill>
          <p:spPr>
            <a:xfrm>
              <a:off x="-1884053" y="1200637"/>
              <a:ext cx="1418614" cy="1444137"/>
            </a:xfrm>
            <a:prstGeom prst="rect">
              <a:avLst/>
            </a:prstGeom>
          </p:spPr>
        </p:pic>
      </p:grpSp>
      <p:sp>
        <p:nvSpPr>
          <p:cNvPr id="4" name="Title 1"/>
          <p:cNvSpPr>
            <a:spLocks noGrp="1"/>
          </p:cNvSpPr>
          <p:nvPr>
            <p:ph type="title"/>
          </p:nvPr>
        </p:nvSpPr>
        <p:spPr>
          <a:xfrm>
            <a:off x="798617" y="453496"/>
            <a:ext cx="10590003" cy="748626"/>
          </a:xfrm>
        </p:spPr>
        <p:txBody>
          <a:bodyPr/>
          <a:lstStyle/>
          <a:p>
            <a:r>
              <a:rPr lang="en-US"/>
              <a:t>Click to edit Master title style</a:t>
            </a:r>
            <a:endParaRPr lang="en-GB" dirty="0"/>
          </a:p>
        </p:txBody>
      </p:sp>
      <p:sp>
        <p:nvSpPr>
          <p:cNvPr id="3" name="Content Placeholder 2"/>
          <p:cNvSpPr>
            <a:spLocks noGrp="1"/>
          </p:cNvSpPr>
          <p:nvPr>
            <p:ph idx="1" hasCustomPrompt="1"/>
          </p:nvPr>
        </p:nvSpPr>
        <p:spPr>
          <a:xfrm>
            <a:off x="4056592" y="1644652"/>
            <a:ext cx="7332028"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6">
            <a:extLst>
              <a:ext uri="{FF2B5EF4-FFF2-40B4-BE49-F238E27FC236}">
                <a16:creationId xmlns:a16="http://schemas.microsoft.com/office/drawing/2014/main" id="{344D76E6-1904-4038-80C4-8BC46CEBB703}"/>
              </a:ext>
            </a:extLst>
          </p:cNvPr>
          <p:cNvSpPr>
            <a:spLocks noGrp="1"/>
          </p:cNvSpPr>
          <p:nvPr>
            <p:ph type="body" sz="quarter" idx="15" hasCustomPrompt="1"/>
          </p:nvPr>
        </p:nvSpPr>
        <p:spPr>
          <a:xfrm>
            <a:off x="798619" y="1644391"/>
            <a:ext cx="2443480"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20" name="Text Placeholder 6">
            <a:extLst>
              <a:ext uri="{FF2B5EF4-FFF2-40B4-BE49-F238E27FC236}">
                <a16:creationId xmlns:a16="http://schemas.microsoft.com/office/drawing/2014/main" id="{6CAB1BFF-44E8-48FF-AF80-4144B6650AAE}"/>
              </a:ext>
            </a:extLst>
          </p:cNvPr>
          <p:cNvSpPr>
            <a:spLocks noGrp="1"/>
          </p:cNvSpPr>
          <p:nvPr>
            <p:ph type="body" sz="quarter" idx="14" hasCustomPrompt="1"/>
          </p:nvPr>
        </p:nvSpPr>
        <p:spPr>
          <a:xfrm>
            <a:off x="798619" y="4991259"/>
            <a:ext cx="2443479" cy="715807"/>
          </a:xfrm>
        </p:spPr>
        <p:txBody>
          <a:bodyPr lIns="0" anchor="b" anchorCtr="0"/>
          <a:lstStyle>
            <a:lvl1pPr marL="73310" indent="-73310">
              <a:lnSpc>
                <a:spcPct val="80000"/>
              </a:lnSpc>
              <a:spcAft>
                <a:spcPts val="385"/>
              </a:spcAft>
              <a:buFont typeface="+mj-lt"/>
              <a:buAutoNum type="arabicParenR"/>
              <a:defRPr sz="321" b="0" i="1" cap="none" spc="0" baseline="0">
                <a:solidFill>
                  <a:schemeClr val="bg2"/>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Note</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27" name="Footer Placeholder 4">
            <a:extLst>
              <a:ext uri="{FF2B5EF4-FFF2-40B4-BE49-F238E27FC236}">
                <a16:creationId xmlns:a16="http://schemas.microsoft.com/office/drawing/2014/main" id="{BB98BEF1-8B24-44DD-B00E-B069E4D5CA5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29" name="Date_DateCustomA">
            <a:extLst>
              <a:ext uri="{FF2B5EF4-FFF2-40B4-BE49-F238E27FC236}">
                <a16:creationId xmlns:a16="http://schemas.microsoft.com/office/drawing/2014/main" id="{5AF2CA37-37E6-4F35-A8D3-13E15E8256C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E8FCDCF-FAAC-48D8-97CE-71AEDA9EFE29}" type="datetime1">
              <a:rPr lang="en-GB" smtClean="0"/>
              <a:t>20/06/2024</a:t>
            </a:fld>
            <a:endParaRPr lang="en-GB" dirty="0"/>
          </a:p>
        </p:txBody>
      </p:sp>
    </p:spTree>
    <p:extLst>
      <p:ext uri="{BB962C8B-B14F-4D97-AF65-F5344CB8AC3E}">
        <p14:creationId xmlns:p14="http://schemas.microsoft.com/office/powerpoint/2010/main" val="356705369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and image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6556C8-A731-4240-9800-194A4F70A1D8}"/>
              </a:ext>
            </a:extLst>
          </p:cNvPr>
          <p:cNvSpPr>
            <a:spLocks noGrp="1"/>
          </p:cNvSpPr>
          <p:nvPr>
            <p:ph type="title"/>
          </p:nvPr>
        </p:nvSpPr>
        <p:spPr>
          <a:xfrm>
            <a:off x="798618" y="452439"/>
            <a:ext cx="4072466" cy="748626"/>
          </a:xfrm>
        </p:spPr>
        <p:txBody>
          <a:bodyPr/>
          <a:lstStyle/>
          <a:p>
            <a:r>
              <a:rPr lang="en-US"/>
              <a:t>Click to edit Master title style</a:t>
            </a:r>
            <a:endParaRPr lang="en-GB" dirty="0"/>
          </a:p>
        </p:txBody>
      </p:sp>
      <p:sp>
        <p:nvSpPr>
          <p:cNvPr id="7" name="Content Placeholder 2">
            <a:extLst>
              <a:ext uri="{FF2B5EF4-FFF2-40B4-BE49-F238E27FC236}">
                <a16:creationId xmlns:a16="http://schemas.microsoft.com/office/drawing/2014/main" id="{F530FD33-AB9C-4A88-9BBB-1E385B91358C}"/>
              </a:ext>
            </a:extLst>
          </p:cNvPr>
          <p:cNvSpPr>
            <a:spLocks noGrp="1"/>
          </p:cNvSpPr>
          <p:nvPr>
            <p:ph idx="17" hasCustomPrompt="1"/>
          </p:nvPr>
        </p:nvSpPr>
        <p:spPr>
          <a:xfrm>
            <a:off x="798618" y="1644652"/>
            <a:ext cx="4072467"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6" name="Text Placeholder 6">
            <a:extLst>
              <a:ext uri="{FF2B5EF4-FFF2-40B4-BE49-F238E27FC236}">
                <a16:creationId xmlns:a16="http://schemas.microsoft.com/office/drawing/2014/main" id="{9C52035C-C8B1-4C44-976C-626BFFA7790E}"/>
              </a:ext>
            </a:extLst>
          </p:cNvPr>
          <p:cNvSpPr>
            <a:spLocks noGrp="1"/>
          </p:cNvSpPr>
          <p:nvPr>
            <p:ph type="body" sz="quarter" idx="14" hasCustomPrompt="1"/>
          </p:nvPr>
        </p:nvSpPr>
        <p:spPr>
          <a:xfrm>
            <a:off x="5685579" y="5388899"/>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536905"/>
            <a:ext cx="5703042" cy="485199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8" name="Footer Placeholder 4">
            <a:extLst>
              <a:ext uri="{FF2B5EF4-FFF2-40B4-BE49-F238E27FC236}">
                <a16:creationId xmlns:a16="http://schemas.microsoft.com/office/drawing/2014/main" id="{49DC368E-8BDB-41BB-B406-A3B0A25665D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1" name="Date_DateCustomA">
            <a:extLst>
              <a:ext uri="{FF2B5EF4-FFF2-40B4-BE49-F238E27FC236}">
                <a16:creationId xmlns:a16="http://schemas.microsoft.com/office/drawing/2014/main" id="{6531AD21-BE76-4592-909B-A3B963868059}"/>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7E088B74-D5F8-4D6D-B466-6D0723103653}" type="datetime1">
              <a:rPr lang="en-GB" smtClean="0"/>
              <a:t>20/06/2024</a:t>
            </a:fld>
            <a:endParaRPr lang="en-GB" dirty="0"/>
          </a:p>
        </p:txBody>
      </p:sp>
    </p:spTree>
    <p:extLst>
      <p:ext uri="{BB962C8B-B14F-4D97-AF65-F5344CB8AC3E}">
        <p14:creationId xmlns:p14="http://schemas.microsoft.com/office/powerpoint/2010/main" val="190736523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xt and image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CDE71F-8FC2-4DE4-9423-EE57143478CB}"/>
              </a:ext>
            </a:extLst>
          </p:cNvPr>
          <p:cNvSpPr>
            <a:spLocks noGrp="1"/>
          </p:cNvSpPr>
          <p:nvPr>
            <p:ph type="title"/>
          </p:nvPr>
        </p:nvSpPr>
        <p:spPr>
          <a:xfrm>
            <a:off x="798617" y="452439"/>
            <a:ext cx="2443480" cy="748626"/>
          </a:xfrm>
        </p:spPr>
        <p:txBody>
          <a:bodyPr/>
          <a:lstStyle/>
          <a:p>
            <a:r>
              <a:rPr lang="en-US"/>
              <a:t>Click to edit Master title style</a:t>
            </a:r>
            <a:endParaRPr lang="en-GB" dirty="0"/>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619" y="1644653"/>
            <a:ext cx="2443480" cy="4061090"/>
          </a:xfrm>
        </p:spPr>
        <p:txBody>
          <a:bodyPr/>
          <a:lstStyle>
            <a:lvl4pPr>
              <a:defRPr sz="449"/>
            </a:lvl4pPr>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4056592" y="5388899"/>
            <a:ext cx="7332029"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4056592" y="536905"/>
            <a:ext cx="7332029" cy="485199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7" name="Footer Placeholder 4">
            <a:extLst>
              <a:ext uri="{FF2B5EF4-FFF2-40B4-BE49-F238E27FC236}">
                <a16:creationId xmlns:a16="http://schemas.microsoft.com/office/drawing/2014/main" id="{E7D9B79D-FD5C-45BD-97EA-6B24E7C0045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9" name="Date_DateCustomA">
            <a:extLst>
              <a:ext uri="{FF2B5EF4-FFF2-40B4-BE49-F238E27FC236}">
                <a16:creationId xmlns:a16="http://schemas.microsoft.com/office/drawing/2014/main" id="{11E666E0-9E5A-4A77-8B2D-91C35C22746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2EEB1991-01A7-4A1C-9C66-872C05E5583D}" type="datetime1">
              <a:rPr lang="en-GB" smtClean="0"/>
              <a:t>20/06/2024</a:t>
            </a:fld>
            <a:endParaRPr lang="en-GB" dirty="0"/>
          </a:p>
        </p:txBody>
      </p:sp>
    </p:spTree>
    <p:extLst>
      <p:ext uri="{BB962C8B-B14F-4D97-AF65-F5344CB8AC3E}">
        <p14:creationId xmlns:p14="http://schemas.microsoft.com/office/powerpoint/2010/main" val="159481789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618" y="452439"/>
            <a:ext cx="10590003" cy="748626"/>
          </a:xfrm>
        </p:spPr>
        <p:txBody>
          <a:bodyPr/>
          <a:lstStyle/>
          <a:p>
            <a:r>
              <a:rPr lang="en-US"/>
              <a:t>Click to edit Master title style</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1644652"/>
            <a:ext cx="5703042" cy="3744247"/>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618" y="1644652"/>
            <a:ext cx="4072467" cy="4062413"/>
          </a:xfrm>
        </p:spPr>
        <p:txBody>
          <a:bodyPr/>
          <a:lstStyle>
            <a:lvl4pPr>
              <a:defRPr sz="449"/>
            </a:lvl4pPr>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6">
            <a:extLst>
              <a:ext uri="{FF2B5EF4-FFF2-40B4-BE49-F238E27FC236}">
                <a16:creationId xmlns:a16="http://schemas.microsoft.com/office/drawing/2014/main" id="{385A6CB6-503A-43E4-95E9-49CCA6BE0AA8}"/>
              </a:ext>
            </a:extLst>
          </p:cNvPr>
          <p:cNvSpPr>
            <a:spLocks noGrp="1"/>
          </p:cNvSpPr>
          <p:nvPr>
            <p:ph type="body" sz="quarter" idx="14" hasCustomPrompt="1"/>
          </p:nvPr>
        </p:nvSpPr>
        <p:spPr>
          <a:xfrm>
            <a:off x="5685579" y="5388899"/>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7" name="Footer Placeholder 4">
            <a:extLst>
              <a:ext uri="{FF2B5EF4-FFF2-40B4-BE49-F238E27FC236}">
                <a16:creationId xmlns:a16="http://schemas.microsoft.com/office/drawing/2014/main" id="{5BE177DB-3D97-4178-B41E-C5E88E6EF6FE}"/>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1" name="Date_DateCustomA">
            <a:extLst>
              <a:ext uri="{FF2B5EF4-FFF2-40B4-BE49-F238E27FC236}">
                <a16:creationId xmlns:a16="http://schemas.microsoft.com/office/drawing/2014/main" id="{A29EE775-E260-4614-9C8B-28623B33C6B7}"/>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310C8F63-746D-49AA-89DD-F720C3C3E8E3}" type="datetime1">
              <a:rPr lang="en-GB" smtClean="0"/>
              <a:t>20/06/2024</a:t>
            </a:fld>
            <a:endParaRPr lang="en-GB" dirty="0"/>
          </a:p>
        </p:txBody>
      </p:sp>
    </p:spTree>
    <p:extLst>
      <p:ext uri="{BB962C8B-B14F-4D97-AF65-F5344CB8AC3E}">
        <p14:creationId xmlns:p14="http://schemas.microsoft.com/office/powerpoint/2010/main" val="20724707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4BA132-22C9-4678-8278-1658D4954BF9}"/>
              </a:ext>
            </a:extLst>
          </p:cNvPr>
          <p:cNvGraphicFramePr>
            <a:graphicFrameLocks noChangeAspect="1"/>
          </p:cNvGraphicFramePr>
          <p:nvPr userDrawn="1">
            <p:custDataLst>
              <p:tags r:id="rId1"/>
            </p:custDataLst>
            <p:extLst>
              <p:ext uri="{D42A27DB-BD31-4B8C-83A1-F6EECF244321}">
                <p14:modId xmlns:p14="http://schemas.microsoft.com/office/powerpoint/2010/main" val="395322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E4BA132-22C9-4678-8278-1658D4954B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20-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2443480" cy="3744247"/>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3" name="Title 2">
            <a:extLst>
              <a:ext uri="{FF2B5EF4-FFF2-40B4-BE49-F238E27FC236}">
                <a16:creationId xmlns:a16="http://schemas.microsoft.com/office/drawing/2014/main" id="{D10A7420-B42B-4A1E-801C-58F73E98E720}"/>
              </a:ext>
            </a:extLst>
          </p:cNvPr>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6" name="Content Placeholder 2">
            <a:extLst>
              <a:ext uri="{FF2B5EF4-FFF2-40B4-BE49-F238E27FC236}">
                <a16:creationId xmlns:a16="http://schemas.microsoft.com/office/drawing/2014/main" id="{EE94D7C6-6298-49CF-9E54-6442A65BE7EB}"/>
              </a:ext>
            </a:extLst>
          </p:cNvPr>
          <p:cNvSpPr>
            <a:spLocks noGrp="1"/>
          </p:cNvSpPr>
          <p:nvPr>
            <p:ph idx="1" hasCustomPrompt="1"/>
          </p:nvPr>
        </p:nvSpPr>
        <p:spPr>
          <a:xfrm>
            <a:off x="4056592" y="1644652"/>
            <a:ext cx="7332029" cy="4062413"/>
          </a:xfrm>
        </p:spPr>
        <p:txBody>
          <a:bodyPr/>
          <a:lstStyle>
            <a:lvl5pPr>
              <a:defRPr spc="-32"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6">
            <a:extLst>
              <a:ext uri="{FF2B5EF4-FFF2-40B4-BE49-F238E27FC236}">
                <a16:creationId xmlns:a16="http://schemas.microsoft.com/office/drawing/2014/main" id="{36C9629C-CF41-41C8-B234-06D2B62B588B}"/>
              </a:ext>
            </a:extLst>
          </p:cNvPr>
          <p:cNvSpPr>
            <a:spLocks noGrp="1"/>
          </p:cNvSpPr>
          <p:nvPr>
            <p:ph type="body" sz="quarter" idx="14" hasCustomPrompt="1"/>
          </p:nvPr>
        </p:nvSpPr>
        <p:spPr>
          <a:xfrm>
            <a:off x="797029" y="5388899"/>
            <a:ext cx="2445068"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7" name="Footer Placeholder 4">
            <a:extLst>
              <a:ext uri="{FF2B5EF4-FFF2-40B4-BE49-F238E27FC236}">
                <a16:creationId xmlns:a16="http://schemas.microsoft.com/office/drawing/2014/main" id="{F72ED723-2034-4873-8F5F-84CD3DF067D2}"/>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1" name="Date_DateCustomA">
            <a:extLst>
              <a:ext uri="{FF2B5EF4-FFF2-40B4-BE49-F238E27FC236}">
                <a16:creationId xmlns:a16="http://schemas.microsoft.com/office/drawing/2014/main" id="{70AABF26-1E97-4163-9AEB-8A08056A2CF2}"/>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07D9B8B2-2B26-4659-AFD3-8F852FE9A4D5}" type="datetime1">
              <a:rPr lang="en-GB" smtClean="0"/>
              <a:t>20/06/2024</a:t>
            </a:fld>
            <a:endParaRPr lang="en-GB" dirty="0"/>
          </a:p>
        </p:txBody>
      </p:sp>
    </p:spTree>
    <p:extLst>
      <p:ext uri="{BB962C8B-B14F-4D97-AF65-F5344CB8AC3E}">
        <p14:creationId xmlns:p14="http://schemas.microsoft.com/office/powerpoint/2010/main" val="75541233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One 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7" y="536906"/>
            <a:ext cx="10590003" cy="4851993"/>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4" name="Title 1"/>
          <p:cNvSpPr>
            <a:spLocks noGrp="1"/>
          </p:cNvSpPr>
          <p:nvPr>
            <p:ph type="title"/>
          </p:nvPr>
        </p:nvSpPr>
        <p:spPr>
          <a:xfrm>
            <a:off x="1613111" y="906489"/>
            <a:ext cx="3257974" cy="2157549"/>
          </a:xfrm>
        </p:spPr>
        <p:txBody>
          <a:bodyPr/>
          <a:lstStyle/>
          <a:p>
            <a:r>
              <a:rPr lang="en-US"/>
              <a:t>Click to edit Master title style</a:t>
            </a:r>
            <a:endParaRPr lang="en-GB" dirty="0"/>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797030" y="5388899"/>
            <a:ext cx="1059159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7" name="Footer Placeholder 4">
            <a:extLst>
              <a:ext uri="{FF2B5EF4-FFF2-40B4-BE49-F238E27FC236}">
                <a16:creationId xmlns:a16="http://schemas.microsoft.com/office/drawing/2014/main" id="{040854D9-4A7F-43DD-ADEE-729ECE38A71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9" name="Date_DateCustomA">
            <a:extLst>
              <a:ext uri="{FF2B5EF4-FFF2-40B4-BE49-F238E27FC236}">
                <a16:creationId xmlns:a16="http://schemas.microsoft.com/office/drawing/2014/main" id="{13B009AD-71AF-4311-AB8D-836DCA3740C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2D02C2F-C8D1-4CA6-BC85-74B401D907FB}" type="datetime1">
              <a:rPr lang="en-GB" smtClean="0"/>
              <a:t>20/06/2024</a:t>
            </a:fld>
            <a:endParaRPr lang="en-GB" dirty="0"/>
          </a:p>
        </p:txBody>
      </p:sp>
    </p:spTree>
    <p:extLst>
      <p:ext uri="{BB962C8B-B14F-4D97-AF65-F5344CB8AC3E}">
        <p14:creationId xmlns:p14="http://schemas.microsoft.com/office/powerpoint/2010/main" val="42087044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A48E567-47F5-4B08-99D6-069385ECECE3}"/>
              </a:ext>
            </a:extLst>
          </p:cNvPr>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11" name="Text Placeholder 3">
            <a:extLst>
              <a:ext uri="{FF2B5EF4-FFF2-40B4-BE49-F238E27FC236}">
                <a16:creationId xmlns:a16="http://schemas.microsoft.com/office/drawing/2014/main" id="{E3950CBF-72E1-4385-99DA-211C9A719C86}"/>
              </a:ext>
            </a:extLst>
          </p:cNvPr>
          <p:cNvSpPr>
            <a:spLocks noGrp="1"/>
          </p:cNvSpPr>
          <p:nvPr>
            <p:ph type="body" sz="quarter" idx="18" hasCustomPrompt="1"/>
          </p:nvPr>
        </p:nvSpPr>
        <p:spPr>
          <a:xfrm>
            <a:off x="797030" y="5387834"/>
            <a:ext cx="4074055"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5" name="Text Placeholder 4">
            <a:extLst>
              <a:ext uri="{FF2B5EF4-FFF2-40B4-BE49-F238E27FC236}">
                <a16:creationId xmlns:a16="http://schemas.microsoft.com/office/drawing/2014/main" id="{45D561B5-A7F3-463C-BD8C-C2813F3D379D}"/>
              </a:ext>
            </a:extLst>
          </p:cNvPr>
          <p:cNvSpPr>
            <a:spLocks noGrp="1"/>
          </p:cNvSpPr>
          <p:nvPr>
            <p:ph type="body" sz="quarter" idx="19" hasCustomPrompt="1"/>
          </p:nvPr>
        </p:nvSpPr>
        <p:spPr>
          <a:xfrm>
            <a:off x="5685579" y="5387836"/>
            <a:ext cx="5703042"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endParaRPr lang="en-GB"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798618" y="1644653"/>
            <a:ext cx="4072467" cy="3743181"/>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1644652"/>
            <a:ext cx="5703042" cy="3744247"/>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8" name="Footer Placeholder 4">
            <a:extLst>
              <a:ext uri="{FF2B5EF4-FFF2-40B4-BE49-F238E27FC236}">
                <a16:creationId xmlns:a16="http://schemas.microsoft.com/office/drawing/2014/main" id="{C5F701B6-51A4-429E-BAE7-303D346C10A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2" name="Date_DateCustomA">
            <a:extLst>
              <a:ext uri="{FF2B5EF4-FFF2-40B4-BE49-F238E27FC236}">
                <a16:creationId xmlns:a16="http://schemas.microsoft.com/office/drawing/2014/main" id="{AF6FCEB8-934A-4A77-A838-C33FC03CC5F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317641B-8A6E-4000-8D18-8C26E74C5E0D}" type="datetime1">
              <a:rPr lang="en-GB" smtClean="0"/>
              <a:t>20/06/2024</a:t>
            </a:fld>
            <a:endParaRPr lang="en-GB" dirty="0"/>
          </a:p>
        </p:txBody>
      </p:sp>
    </p:spTree>
    <p:extLst>
      <p:ext uri="{BB962C8B-B14F-4D97-AF65-F5344CB8AC3E}">
        <p14:creationId xmlns:p14="http://schemas.microsoft.com/office/powerpoint/2010/main" val="207173678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images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8144935" cy="3744247"/>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6"/>
            <a:ext cx="8144935"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12" name="Picture Placeholder 3">
            <a:extLst>
              <a:ext uri="{FF2B5EF4-FFF2-40B4-BE49-F238E27FC236}">
                <a16:creationId xmlns:a16="http://schemas.microsoft.com/office/drawing/2014/main" id="{89424118-58CD-42CA-86D2-8D172442E460}"/>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8" name="Text Placeholder 4">
            <a:extLst>
              <a:ext uri="{FF2B5EF4-FFF2-40B4-BE49-F238E27FC236}">
                <a16:creationId xmlns:a16="http://schemas.microsoft.com/office/drawing/2014/main" id="{45AEC6E4-C3EF-4192-856D-9039F171C484}"/>
              </a:ext>
            </a:extLst>
          </p:cNvPr>
          <p:cNvSpPr>
            <a:spLocks noGrp="1"/>
          </p:cNvSpPr>
          <p:nvPr>
            <p:ph type="body" sz="quarter" idx="19" hasCustomPrompt="1"/>
          </p:nvPr>
        </p:nvSpPr>
        <p:spPr>
          <a:xfrm>
            <a:off x="9758046" y="5387836"/>
            <a:ext cx="1630575"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1" name="Footer Placeholder 4">
            <a:extLst>
              <a:ext uri="{FF2B5EF4-FFF2-40B4-BE49-F238E27FC236}">
                <a16:creationId xmlns:a16="http://schemas.microsoft.com/office/drawing/2014/main" id="{C5D31929-EC68-4BA9-818F-D9E7F43918E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4" name="Date_DateCustomA">
            <a:extLst>
              <a:ext uri="{FF2B5EF4-FFF2-40B4-BE49-F238E27FC236}">
                <a16:creationId xmlns:a16="http://schemas.microsoft.com/office/drawing/2014/main" id="{F7836BF7-FD55-405A-874B-61C805C2E3C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49976E51-1FC3-4474-950D-AA48067650FE}" type="datetime1">
              <a:rPr lang="en-GB" smtClean="0"/>
              <a:t>20/06/2024</a:t>
            </a:fld>
            <a:endParaRPr lang="en-GB" dirty="0"/>
          </a:p>
        </p:txBody>
      </p:sp>
    </p:spTree>
    <p:extLst>
      <p:ext uri="{BB962C8B-B14F-4D97-AF65-F5344CB8AC3E}">
        <p14:creationId xmlns:p14="http://schemas.microsoft.com/office/powerpoint/2010/main" val="391163330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images and fac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D88E7-3B12-4449-81F1-3C8219EE77CB}"/>
              </a:ext>
            </a:extLst>
          </p:cNvPr>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9" y="5387836"/>
            <a:ext cx="3257974"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11" name="Text Placeholder 4">
            <a:extLst>
              <a:ext uri="{FF2B5EF4-FFF2-40B4-BE49-F238E27FC236}">
                <a16:creationId xmlns:a16="http://schemas.microsoft.com/office/drawing/2014/main" id="{F7D20742-1518-4D1C-84E0-A50DB3F71AB2}"/>
              </a:ext>
            </a:extLst>
          </p:cNvPr>
          <p:cNvSpPr>
            <a:spLocks noGrp="1"/>
          </p:cNvSpPr>
          <p:nvPr>
            <p:ph type="body" sz="quarter" idx="25" hasCustomPrompt="1"/>
          </p:nvPr>
        </p:nvSpPr>
        <p:spPr>
          <a:xfrm>
            <a:off x="4871085" y="5387836"/>
            <a:ext cx="3257974"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3257974" cy="3744247"/>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1085" y="1644650"/>
            <a:ext cx="3257973" cy="374424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2" name="Text Placeholder 6">
            <a:extLst>
              <a:ext uri="{FF2B5EF4-FFF2-40B4-BE49-F238E27FC236}">
                <a16:creationId xmlns:a16="http://schemas.microsoft.com/office/drawing/2014/main" id="{2AD0405A-0FD7-4F0F-AF7F-B2047DF5CF9E}"/>
              </a:ext>
            </a:extLst>
          </p:cNvPr>
          <p:cNvSpPr>
            <a:spLocks noGrp="1"/>
          </p:cNvSpPr>
          <p:nvPr>
            <p:ph type="body" sz="quarter" idx="15" hasCustomPrompt="1"/>
          </p:nvPr>
        </p:nvSpPr>
        <p:spPr>
          <a:xfrm>
            <a:off x="8943552" y="1644391"/>
            <a:ext cx="244506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13" name="Footer Placeholder 4">
            <a:extLst>
              <a:ext uri="{FF2B5EF4-FFF2-40B4-BE49-F238E27FC236}">
                <a16:creationId xmlns:a16="http://schemas.microsoft.com/office/drawing/2014/main" id="{918E1753-D849-4306-90F0-AE9E3B1E439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6" name="Date_DateCustomA">
            <a:extLst>
              <a:ext uri="{FF2B5EF4-FFF2-40B4-BE49-F238E27FC236}">
                <a16:creationId xmlns:a16="http://schemas.microsoft.com/office/drawing/2014/main" id="{4824DA6C-1660-454E-AE9F-DA89A04C5D0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19B1F6A8-6B7A-461C-8C18-9117AB04685F}" type="datetime1">
              <a:rPr lang="en-GB" smtClean="0"/>
              <a:t>20/06/2024</a:t>
            </a:fld>
            <a:endParaRPr lang="en-GB" dirty="0"/>
          </a:p>
        </p:txBody>
      </p:sp>
    </p:spTree>
    <p:extLst>
      <p:ext uri="{BB962C8B-B14F-4D97-AF65-F5344CB8AC3E}">
        <p14:creationId xmlns:p14="http://schemas.microsoft.com/office/powerpoint/2010/main" val="234547114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hree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A0290B9-8984-4B63-9584-E3AE12BC8408}"/>
              </a:ext>
            </a:extLst>
          </p:cNvPr>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6"/>
            <a:ext cx="4886961"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11" name="Text Placeholder 4">
            <a:extLst>
              <a:ext uri="{FF2B5EF4-FFF2-40B4-BE49-F238E27FC236}">
                <a16:creationId xmlns:a16="http://schemas.microsoft.com/office/drawing/2014/main" id="{A7ABCE10-41F5-4BFF-B780-36E38A40F95C}"/>
              </a:ext>
            </a:extLst>
          </p:cNvPr>
          <p:cNvSpPr>
            <a:spLocks noGrp="1"/>
          </p:cNvSpPr>
          <p:nvPr>
            <p:ph type="body" sz="quarter" idx="25" hasCustomPrompt="1"/>
          </p:nvPr>
        </p:nvSpPr>
        <p:spPr>
          <a:xfrm>
            <a:off x="6500070" y="5387835"/>
            <a:ext cx="2443482" cy="317908"/>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endParaRPr lang="en-GB" dirty="0"/>
          </a:p>
        </p:txBody>
      </p:sp>
      <p:sp>
        <p:nvSpPr>
          <p:cNvPr id="5" name="Text Placeholder 5">
            <a:extLst>
              <a:ext uri="{FF2B5EF4-FFF2-40B4-BE49-F238E27FC236}">
                <a16:creationId xmlns:a16="http://schemas.microsoft.com/office/drawing/2014/main" id="{6B139212-6CFC-41D2-8FC4-04AFFFB5F675}"/>
              </a:ext>
            </a:extLst>
          </p:cNvPr>
          <p:cNvSpPr>
            <a:spLocks noGrp="1"/>
          </p:cNvSpPr>
          <p:nvPr>
            <p:ph type="body" sz="quarter" idx="26" hasCustomPrompt="1"/>
          </p:nvPr>
        </p:nvSpPr>
        <p:spPr>
          <a:xfrm>
            <a:off x="9758046" y="5387836"/>
            <a:ext cx="1630575" cy="317907"/>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4886961" cy="3744247"/>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6500072" y="1644650"/>
            <a:ext cx="2443480" cy="3744249"/>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2" name="Footer Placeholder 4">
            <a:extLst>
              <a:ext uri="{FF2B5EF4-FFF2-40B4-BE49-F238E27FC236}">
                <a16:creationId xmlns:a16="http://schemas.microsoft.com/office/drawing/2014/main" id="{5874BC50-6BE9-4C0E-B354-8E1950E1DEC6}"/>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5" name="Date_DateCustomA">
            <a:extLst>
              <a:ext uri="{FF2B5EF4-FFF2-40B4-BE49-F238E27FC236}">
                <a16:creationId xmlns:a16="http://schemas.microsoft.com/office/drawing/2014/main" id="{A27BE1DC-8318-4E12-A678-697DBD2158D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670B47BD-1B93-49E8-8F1A-50F28146FAEE}" type="datetime1">
              <a:rPr lang="en-GB" smtClean="0"/>
              <a:t>20/06/2024</a:t>
            </a:fld>
            <a:endParaRPr lang="en-GB" dirty="0"/>
          </a:p>
        </p:txBody>
      </p:sp>
    </p:spTree>
    <p:extLst>
      <p:ext uri="{BB962C8B-B14F-4D97-AF65-F5344CB8AC3E}">
        <p14:creationId xmlns:p14="http://schemas.microsoft.com/office/powerpoint/2010/main" val="37703062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ree images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9AAF93-6D36-4195-82B9-DF0720EC521B}"/>
              </a:ext>
            </a:extLst>
          </p:cNvPr>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5"/>
            <a:ext cx="5701454"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11" name="Text Placeholder 4">
            <a:extLst>
              <a:ext uri="{FF2B5EF4-FFF2-40B4-BE49-F238E27FC236}">
                <a16:creationId xmlns:a16="http://schemas.microsoft.com/office/drawing/2014/main" id="{3E2CB951-B63B-4713-9C55-151E8F70764A}"/>
              </a:ext>
            </a:extLst>
          </p:cNvPr>
          <p:cNvSpPr>
            <a:spLocks noGrp="1"/>
          </p:cNvSpPr>
          <p:nvPr>
            <p:ph type="body" sz="quarter" idx="25" hasCustomPrompt="1"/>
          </p:nvPr>
        </p:nvSpPr>
        <p:spPr>
          <a:xfrm>
            <a:off x="7314564" y="5387835"/>
            <a:ext cx="1628988"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endParaRPr lang="en-GB" dirty="0"/>
          </a:p>
        </p:txBody>
      </p:sp>
      <p:sp>
        <p:nvSpPr>
          <p:cNvPr id="12" name="Text Placeholder 5">
            <a:extLst>
              <a:ext uri="{FF2B5EF4-FFF2-40B4-BE49-F238E27FC236}">
                <a16:creationId xmlns:a16="http://schemas.microsoft.com/office/drawing/2014/main" id="{4ABF96D0-72C6-404F-8711-EC888AA24B29}"/>
              </a:ext>
            </a:extLst>
          </p:cNvPr>
          <p:cNvSpPr>
            <a:spLocks noGrp="1"/>
          </p:cNvSpPr>
          <p:nvPr>
            <p:ph type="body" sz="quarter" idx="26" hasCustomPrompt="1"/>
          </p:nvPr>
        </p:nvSpPr>
        <p:spPr>
          <a:xfrm>
            <a:off x="9758046" y="5387835"/>
            <a:ext cx="1630575"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7029" y="1644652"/>
            <a:ext cx="5703042" cy="3744247"/>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0"/>
            <a:ext cx="1628988" cy="374424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3" name="Footer Placeholder 4">
            <a:extLst>
              <a:ext uri="{FF2B5EF4-FFF2-40B4-BE49-F238E27FC236}">
                <a16:creationId xmlns:a16="http://schemas.microsoft.com/office/drawing/2014/main" id="{B6ABE9CB-A3E8-48D2-82D8-BB162FBC2ACE}"/>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6" name="Date_DateCustomA">
            <a:extLst>
              <a:ext uri="{FF2B5EF4-FFF2-40B4-BE49-F238E27FC236}">
                <a16:creationId xmlns:a16="http://schemas.microsoft.com/office/drawing/2014/main" id="{F8AC17EF-756D-46C0-9E6D-5F5BC146218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8217C0B-9033-4A97-8B9B-43B4113B467B}" type="datetime1">
              <a:rPr lang="en-GB" smtClean="0"/>
              <a:t>20/06/2024</a:t>
            </a:fld>
            <a:endParaRPr lang="en-GB" dirty="0"/>
          </a:p>
        </p:txBody>
      </p:sp>
    </p:spTree>
    <p:extLst>
      <p:ext uri="{BB962C8B-B14F-4D97-AF65-F5344CB8AC3E}">
        <p14:creationId xmlns:p14="http://schemas.microsoft.com/office/powerpoint/2010/main" val="219069159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our images (A)">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23A1CA0-6B95-4682-8F2B-A2CB29E9A06F}"/>
              </a:ext>
            </a:extLst>
          </p:cNvPr>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29" y="5387835"/>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12" name="Text Placeholder 4">
            <a:extLst>
              <a:ext uri="{FF2B5EF4-FFF2-40B4-BE49-F238E27FC236}">
                <a16:creationId xmlns:a16="http://schemas.microsoft.com/office/drawing/2014/main" id="{7F8FEFC5-5B98-4110-A017-739F63CE87B2}"/>
              </a:ext>
            </a:extLst>
          </p:cNvPr>
          <p:cNvSpPr>
            <a:spLocks noGrp="1"/>
          </p:cNvSpPr>
          <p:nvPr>
            <p:ph type="body" sz="quarter" idx="25" hasCustomPrompt="1"/>
          </p:nvPr>
        </p:nvSpPr>
        <p:spPr>
          <a:xfrm>
            <a:off x="7314565" y="5387835"/>
            <a:ext cx="162898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endParaRPr lang="en-GB" dirty="0"/>
          </a:p>
        </p:txBody>
      </p:sp>
      <p:sp>
        <p:nvSpPr>
          <p:cNvPr id="13" name="Text Placeholder 5">
            <a:extLst>
              <a:ext uri="{FF2B5EF4-FFF2-40B4-BE49-F238E27FC236}">
                <a16:creationId xmlns:a16="http://schemas.microsoft.com/office/drawing/2014/main" id="{EED6E484-ADE4-491D-A306-116A904F4278}"/>
              </a:ext>
            </a:extLst>
          </p:cNvPr>
          <p:cNvSpPr>
            <a:spLocks noGrp="1"/>
          </p:cNvSpPr>
          <p:nvPr>
            <p:ph type="body" sz="quarter" idx="26" hasCustomPrompt="1"/>
          </p:nvPr>
        </p:nvSpPr>
        <p:spPr>
          <a:xfrm>
            <a:off x="9758046" y="3144372"/>
            <a:ext cx="1630575"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endParaRPr lang="en-GB" dirty="0"/>
          </a:p>
        </p:txBody>
      </p:sp>
      <p:sp>
        <p:nvSpPr>
          <p:cNvPr id="5" name="Text Placeholder 6">
            <a:extLst>
              <a:ext uri="{FF2B5EF4-FFF2-40B4-BE49-F238E27FC236}">
                <a16:creationId xmlns:a16="http://schemas.microsoft.com/office/drawing/2014/main" id="{1D494126-0696-4DB9-B563-2B5C9722422F}"/>
              </a:ext>
            </a:extLst>
          </p:cNvPr>
          <p:cNvSpPr>
            <a:spLocks noGrp="1"/>
          </p:cNvSpPr>
          <p:nvPr>
            <p:ph type="body" sz="quarter" idx="27" hasCustomPrompt="1"/>
          </p:nvPr>
        </p:nvSpPr>
        <p:spPr>
          <a:xfrm>
            <a:off x="9758046" y="5387835"/>
            <a:ext cx="1630575"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6" y="1644650"/>
            <a:ext cx="1628987" cy="3744249"/>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1483526"/>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6" y="3905375"/>
            <a:ext cx="1630575" cy="1483526"/>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5" name="Footer Placeholder 4">
            <a:extLst>
              <a:ext uri="{FF2B5EF4-FFF2-40B4-BE49-F238E27FC236}">
                <a16:creationId xmlns:a16="http://schemas.microsoft.com/office/drawing/2014/main" id="{4567020D-E32F-49AD-ADAE-9E64ADBB8FDF}"/>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8" name="Date_DateCustomA">
            <a:extLst>
              <a:ext uri="{FF2B5EF4-FFF2-40B4-BE49-F238E27FC236}">
                <a16:creationId xmlns:a16="http://schemas.microsoft.com/office/drawing/2014/main" id="{32279A45-1217-4472-8344-3C0A19130A7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93200B9-2419-488B-B3B4-69557D1FB50C}" type="datetime1">
              <a:rPr lang="en-GB" smtClean="0"/>
              <a:t>20/06/2024</a:t>
            </a:fld>
            <a:endParaRPr lang="en-GB" dirty="0"/>
          </a:p>
        </p:txBody>
      </p:sp>
    </p:spTree>
    <p:extLst>
      <p:ext uri="{BB962C8B-B14F-4D97-AF65-F5344CB8AC3E}">
        <p14:creationId xmlns:p14="http://schemas.microsoft.com/office/powerpoint/2010/main" val="193184040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Four images (B)">
    <p:spTree>
      <p:nvGrpSpPr>
        <p:cNvPr id="1" name=""/>
        <p:cNvGrpSpPr/>
        <p:nvPr/>
      </p:nvGrpSpPr>
      <p:grpSpPr>
        <a:xfrm>
          <a:off x="0" y="0"/>
          <a:ext cx="0" cy="0"/>
          <a:chOff x="0" y="0"/>
          <a:chExt cx="0" cy="0"/>
        </a:xfrm>
      </p:grpSpPr>
      <p:sp>
        <p:nvSpPr>
          <p:cNvPr id="17" name="Title 7">
            <a:extLst>
              <a:ext uri="{FF2B5EF4-FFF2-40B4-BE49-F238E27FC236}">
                <a16:creationId xmlns:a16="http://schemas.microsoft.com/office/drawing/2014/main" id="{6DA88F43-D409-4504-A063-DA4B451A4720}"/>
              </a:ext>
            </a:extLst>
          </p:cNvPr>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31" y="5387836"/>
            <a:ext cx="5703042"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12" name="Text Placeholder 4">
            <a:extLst>
              <a:ext uri="{FF2B5EF4-FFF2-40B4-BE49-F238E27FC236}">
                <a16:creationId xmlns:a16="http://schemas.microsoft.com/office/drawing/2014/main" id="{A1F7B2BE-FFF8-4897-A35A-DDFEEB4911B6}"/>
              </a:ext>
            </a:extLst>
          </p:cNvPr>
          <p:cNvSpPr>
            <a:spLocks noGrp="1"/>
          </p:cNvSpPr>
          <p:nvPr>
            <p:ph type="body" sz="quarter" idx="25" hasCustomPrompt="1"/>
          </p:nvPr>
        </p:nvSpPr>
        <p:spPr>
          <a:xfrm>
            <a:off x="7314564" y="3145672"/>
            <a:ext cx="407405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endParaRPr lang="en-GB"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1"/>
            <a:ext cx="4074057" cy="1483526"/>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3" name="Text Placeholder 5">
            <a:extLst>
              <a:ext uri="{FF2B5EF4-FFF2-40B4-BE49-F238E27FC236}">
                <a16:creationId xmlns:a16="http://schemas.microsoft.com/office/drawing/2014/main" id="{735B3C8D-4ACE-428F-8AD3-7A13F1213FD2}"/>
              </a:ext>
            </a:extLst>
          </p:cNvPr>
          <p:cNvSpPr>
            <a:spLocks noGrp="1"/>
          </p:cNvSpPr>
          <p:nvPr>
            <p:ph type="body" sz="quarter" idx="26" hasCustomPrompt="1"/>
          </p:nvPr>
        </p:nvSpPr>
        <p:spPr>
          <a:xfrm>
            <a:off x="7314566" y="5387835"/>
            <a:ext cx="1628987"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endParaRPr lang="en-GB" dirty="0"/>
          </a:p>
        </p:txBody>
      </p:sp>
      <p:sp>
        <p:nvSpPr>
          <p:cNvPr id="15" name="Text Placeholder 6">
            <a:extLst>
              <a:ext uri="{FF2B5EF4-FFF2-40B4-BE49-F238E27FC236}">
                <a16:creationId xmlns:a16="http://schemas.microsoft.com/office/drawing/2014/main" id="{C7A95160-7865-47B1-BBD0-32DA9C96FEC4}"/>
              </a:ext>
            </a:extLst>
          </p:cNvPr>
          <p:cNvSpPr>
            <a:spLocks noGrp="1"/>
          </p:cNvSpPr>
          <p:nvPr>
            <p:ph type="body" sz="quarter" idx="27" hasCustomPrompt="1"/>
          </p:nvPr>
        </p:nvSpPr>
        <p:spPr>
          <a:xfrm>
            <a:off x="9758044" y="5387835"/>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endParaRPr lang="en-GB" dirty="0"/>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6" y="3905375"/>
            <a:ext cx="1628987" cy="148352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4" y="3905375"/>
            <a:ext cx="1630576" cy="148352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9" name="Footer Placeholder 4">
            <a:extLst>
              <a:ext uri="{FF2B5EF4-FFF2-40B4-BE49-F238E27FC236}">
                <a16:creationId xmlns:a16="http://schemas.microsoft.com/office/drawing/2014/main" id="{651A90D8-504E-4DC5-901B-5180BA0DE16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21" name="Date_DateCustomA">
            <a:extLst>
              <a:ext uri="{FF2B5EF4-FFF2-40B4-BE49-F238E27FC236}">
                <a16:creationId xmlns:a16="http://schemas.microsoft.com/office/drawing/2014/main" id="{C64ACC7F-7EC9-4D88-B2D9-4BD783C75A0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36191CC-81E4-40E2-A3EA-FD9630412644}" type="datetime1">
              <a:rPr lang="en-GB" smtClean="0"/>
              <a:t>20/06/2024</a:t>
            </a:fld>
            <a:endParaRPr lang="en-GB" dirty="0"/>
          </a:p>
        </p:txBody>
      </p:sp>
    </p:spTree>
    <p:extLst>
      <p:ext uri="{BB962C8B-B14F-4D97-AF65-F5344CB8AC3E}">
        <p14:creationId xmlns:p14="http://schemas.microsoft.com/office/powerpoint/2010/main" val="335425935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Five images (A)">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31" y="5388899"/>
            <a:ext cx="5703042" cy="316843"/>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20" name="Text Placeholder 4">
            <a:extLst>
              <a:ext uri="{FF2B5EF4-FFF2-40B4-BE49-F238E27FC236}">
                <a16:creationId xmlns:a16="http://schemas.microsoft.com/office/drawing/2014/main" id="{42DF0A72-5AF0-4ACE-B2DB-4155F465E0B5}"/>
              </a:ext>
            </a:extLst>
          </p:cNvPr>
          <p:cNvSpPr>
            <a:spLocks noGrp="1"/>
          </p:cNvSpPr>
          <p:nvPr>
            <p:ph type="body" sz="quarter" idx="25" hasCustomPrompt="1"/>
          </p:nvPr>
        </p:nvSpPr>
        <p:spPr>
          <a:xfrm>
            <a:off x="7314564" y="3144193"/>
            <a:ext cx="1628988"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endParaRPr lang="en-GB" dirty="0"/>
          </a:p>
        </p:txBody>
      </p:sp>
      <p:sp>
        <p:nvSpPr>
          <p:cNvPr id="21" name="Text Placeholder 5">
            <a:extLst>
              <a:ext uri="{FF2B5EF4-FFF2-40B4-BE49-F238E27FC236}">
                <a16:creationId xmlns:a16="http://schemas.microsoft.com/office/drawing/2014/main" id="{0F958486-0A01-4664-898B-849018028B9C}"/>
              </a:ext>
            </a:extLst>
          </p:cNvPr>
          <p:cNvSpPr>
            <a:spLocks noGrp="1"/>
          </p:cNvSpPr>
          <p:nvPr>
            <p:ph type="body" sz="quarter" idx="26" hasCustomPrompt="1"/>
          </p:nvPr>
        </p:nvSpPr>
        <p:spPr>
          <a:xfrm>
            <a:off x="7314564" y="5387953"/>
            <a:ext cx="1628988"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endParaRPr lang="en-GB" dirty="0"/>
          </a:p>
        </p:txBody>
      </p:sp>
      <p:sp>
        <p:nvSpPr>
          <p:cNvPr id="22" name="Text Placeholder 6">
            <a:extLst>
              <a:ext uri="{FF2B5EF4-FFF2-40B4-BE49-F238E27FC236}">
                <a16:creationId xmlns:a16="http://schemas.microsoft.com/office/drawing/2014/main" id="{72AE0D8A-202F-43F6-AB72-839F68F575A8}"/>
              </a:ext>
            </a:extLst>
          </p:cNvPr>
          <p:cNvSpPr>
            <a:spLocks noGrp="1"/>
          </p:cNvSpPr>
          <p:nvPr>
            <p:ph type="body" sz="quarter" idx="27" hasCustomPrompt="1"/>
          </p:nvPr>
        </p:nvSpPr>
        <p:spPr>
          <a:xfrm>
            <a:off x="9758044" y="3144193"/>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endParaRPr lang="en-GB" dirty="0"/>
          </a:p>
        </p:txBody>
      </p:sp>
      <p:sp>
        <p:nvSpPr>
          <p:cNvPr id="5" name="Text Placeholder 7">
            <a:extLst>
              <a:ext uri="{FF2B5EF4-FFF2-40B4-BE49-F238E27FC236}">
                <a16:creationId xmlns:a16="http://schemas.microsoft.com/office/drawing/2014/main" id="{553D49DA-A17B-44D7-8EBB-64C685A23079}"/>
              </a:ext>
            </a:extLst>
          </p:cNvPr>
          <p:cNvSpPr>
            <a:spLocks noGrp="1"/>
          </p:cNvSpPr>
          <p:nvPr>
            <p:ph type="body" sz="quarter" idx="28" hasCustomPrompt="1"/>
          </p:nvPr>
        </p:nvSpPr>
        <p:spPr>
          <a:xfrm>
            <a:off x="9758044" y="5387953"/>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1"/>
            <a:ext cx="1628988" cy="148352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4" y="3905375"/>
            <a:ext cx="1628988" cy="148352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4" y="1644652"/>
            <a:ext cx="1630576" cy="148352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5" y="3905375"/>
            <a:ext cx="1630575" cy="148352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5" name="Title 7">
            <a:extLst>
              <a:ext uri="{FF2B5EF4-FFF2-40B4-BE49-F238E27FC236}">
                <a16:creationId xmlns:a16="http://schemas.microsoft.com/office/drawing/2014/main" id="{109E8909-9BF2-426F-A556-859081C99CFB}"/>
              </a:ext>
            </a:extLst>
          </p:cNvPr>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17" name="Footer Placeholder 4">
            <a:extLst>
              <a:ext uri="{FF2B5EF4-FFF2-40B4-BE49-F238E27FC236}">
                <a16:creationId xmlns:a16="http://schemas.microsoft.com/office/drawing/2014/main" id="{89EC51AE-5F71-4517-A9E0-7E30DE0DEAE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23" name="Date_DateCustomA">
            <a:extLst>
              <a:ext uri="{FF2B5EF4-FFF2-40B4-BE49-F238E27FC236}">
                <a16:creationId xmlns:a16="http://schemas.microsoft.com/office/drawing/2014/main" id="{9986C71A-FB30-4BC3-80B0-20BC5417034B}"/>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178DCDE-D1A1-4EB4-8F09-37541DFBB130}" type="datetime1">
              <a:rPr lang="en-GB" smtClean="0"/>
              <a:t>20/06/2024</a:t>
            </a:fld>
            <a:endParaRPr lang="en-GB" dirty="0"/>
          </a:p>
        </p:txBody>
      </p:sp>
    </p:spTree>
    <p:extLst>
      <p:ext uri="{BB962C8B-B14F-4D97-AF65-F5344CB8AC3E}">
        <p14:creationId xmlns:p14="http://schemas.microsoft.com/office/powerpoint/2010/main" val="39707574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08A3D5-478B-48A8-8581-C5B287E7C208}"/>
              </a:ext>
            </a:extLst>
          </p:cNvPr>
          <p:cNvGraphicFramePr>
            <a:graphicFrameLocks noChangeAspect="1"/>
          </p:cNvGraphicFramePr>
          <p:nvPr userDrawn="1">
            <p:custDataLst>
              <p:tags r:id="rId1"/>
            </p:custDataLst>
            <p:extLst>
              <p:ext uri="{D42A27DB-BD31-4B8C-83A1-F6EECF244321}">
                <p14:modId xmlns:p14="http://schemas.microsoft.com/office/powerpoint/2010/main" val="320691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808A3D5-478B-48A8-8581-C5B287E7C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20-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ive images (B)">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29" y="5387953"/>
            <a:ext cx="325956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endParaRPr lang="en-GB" dirty="0"/>
          </a:p>
        </p:txBody>
      </p:sp>
      <p:sp>
        <p:nvSpPr>
          <p:cNvPr id="15" name="Text Placeholder 4">
            <a:extLst>
              <a:ext uri="{FF2B5EF4-FFF2-40B4-BE49-F238E27FC236}">
                <a16:creationId xmlns:a16="http://schemas.microsoft.com/office/drawing/2014/main" id="{F02B0B2F-7F53-4AFC-9446-DB6C5777E698}"/>
              </a:ext>
            </a:extLst>
          </p:cNvPr>
          <p:cNvSpPr>
            <a:spLocks noGrp="1"/>
          </p:cNvSpPr>
          <p:nvPr>
            <p:ph type="body" sz="quarter" idx="27" hasCustomPrompt="1"/>
          </p:nvPr>
        </p:nvSpPr>
        <p:spPr>
          <a:xfrm>
            <a:off x="4875849" y="3145672"/>
            <a:ext cx="648677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endParaRPr lang="en-GB" dirty="0"/>
          </a:p>
        </p:txBody>
      </p:sp>
      <p:sp>
        <p:nvSpPr>
          <p:cNvPr id="20" name="Text Placeholder 5">
            <a:extLst>
              <a:ext uri="{FF2B5EF4-FFF2-40B4-BE49-F238E27FC236}">
                <a16:creationId xmlns:a16="http://schemas.microsoft.com/office/drawing/2014/main" id="{0662756F-E3F0-402D-9E22-0BE6B392C8C9}"/>
              </a:ext>
            </a:extLst>
          </p:cNvPr>
          <p:cNvSpPr>
            <a:spLocks noGrp="1"/>
          </p:cNvSpPr>
          <p:nvPr>
            <p:ph type="body" sz="quarter" idx="28" hasCustomPrompt="1"/>
          </p:nvPr>
        </p:nvSpPr>
        <p:spPr>
          <a:xfrm>
            <a:off x="4871086" y="5387953"/>
            <a:ext cx="1625811"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endParaRPr lang="en-GB" dirty="0"/>
          </a:p>
        </p:txBody>
      </p:sp>
      <p:sp>
        <p:nvSpPr>
          <p:cNvPr id="21" name="Text Placeholder 6">
            <a:extLst>
              <a:ext uri="{FF2B5EF4-FFF2-40B4-BE49-F238E27FC236}">
                <a16:creationId xmlns:a16="http://schemas.microsoft.com/office/drawing/2014/main" id="{BE7208CB-CE86-4F3D-B12C-D8268891AA47}"/>
              </a:ext>
            </a:extLst>
          </p:cNvPr>
          <p:cNvSpPr>
            <a:spLocks noGrp="1"/>
          </p:cNvSpPr>
          <p:nvPr>
            <p:ph type="body" sz="quarter" idx="29" hasCustomPrompt="1"/>
          </p:nvPr>
        </p:nvSpPr>
        <p:spPr>
          <a:xfrm>
            <a:off x="7314566" y="5387953"/>
            <a:ext cx="162898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endParaRPr lang="en-GB" dirty="0"/>
          </a:p>
        </p:txBody>
      </p:sp>
      <p:sp>
        <p:nvSpPr>
          <p:cNvPr id="22" name="Text Placeholder 7">
            <a:extLst>
              <a:ext uri="{FF2B5EF4-FFF2-40B4-BE49-F238E27FC236}">
                <a16:creationId xmlns:a16="http://schemas.microsoft.com/office/drawing/2014/main" id="{06E02B92-F862-4F76-B8DC-8C3D1FC7F977}"/>
              </a:ext>
            </a:extLst>
          </p:cNvPr>
          <p:cNvSpPr>
            <a:spLocks noGrp="1"/>
          </p:cNvSpPr>
          <p:nvPr>
            <p:ph type="body" sz="quarter" idx="30" hasCustomPrompt="1"/>
          </p:nvPr>
        </p:nvSpPr>
        <p:spPr>
          <a:xfrm>
            <a:off x="9758046" y="5387953"/>
            <a:ext cx="1630575"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3257974" cy="3744247"/>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1085" y="1644651"/>
            <a:ext cx="6517536" cy="148352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32" name="Picture Placeholder 3">
            <a:extLst>
              <a:ext uri="{FF2B5EF4-FFF2-40B4-BE49-F238E27FC236}">
                <a16:creationId xmlns:a16="http://schemas.microsoft.com/office/drawing/2014/main" id="{BD840AF9-BBF8-4202-BC96-375E5BEB71AA}"/>
              </a:ext>
            </a:extLst>
          </p:cNvPr>
          <p:cNvSpPr>
            <a:spLocks noGrp="1"/>
          </p:cNvSpPr>
          <p:nvPr>
            <p:ph type="pic" sz="quarter" idx="26" hasCustomPrompt="1"/>
          </p:nvPr>
        </p:nvSpPr>
        <p:spPr>
          <a:xfrm>
            <a:off x="4871085" y="3905096"/>
            <a:ext cx="1628987" cy="148352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6" y="3905375"/>
            <a:ext cx="1628987" cy="148352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5" y="3905375"/>
            <a:ext cx="1630575" cy="148352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7" name="Title 7">
            <a:extLst>
              <a:ext uri="{FF2B5EF4-FFF2-40B4-BE49-F238E27FC236}">
                <a16:creationId xmlns:a16="http://schemas.microsoft.com/office/drawing/2014/main" id="{299AE5C6-8512-40FE-B386-E39B5659754F}"/>
              </a:ext>
            </a:extLst>
          </p:cNvPr>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19" name="Footer Placeholder 4">
            <a:extLst>
              <a:ext uri="{FF2B5EF4-FFF2-40B4-BE49-F238E27FC236}">
                <a16:creationId xmlns:a16="http://schemas.microsoft.com/office/drawing/2014/main" id="{DB9DA6D0-8869-4337-BEAF-0ADAFE06FB4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24" name="Date_DateCustomA">
            <a:extLst>
              <a:ext uri="{FF2B5EF4-FFF2-40B4-BE49-F238E27FC236}">
                <a16:creationId xmlns:a16="http://schemas.microsoft.com/office/drawing/2014/main" id="{A387D7D7-69FC-41FF-BDFD-687A499B6122}"/>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5944EB0A-8F31-4F12-A58B-82FA23A642B9}" type="datetime1">
              <a:rPr lang="en-GB" smtClean="0"/>
              <a:t>20/06/2024</a:t>
            </a:fld>
            <a:endParaRPr lang="en-GB" dirty="0"/>
          </a:p>
        </p:txBody>
      </p:sp>
    </p:spTree>
    <p:extLst>
      <p:ext uri="{BB962C8B-B14F-4D97-AF65-F5344CB8AC3E}">
        <p14:creationId xmlns:p14="http://schemas.microsoft.com/office/powerpoint/2010/main" val="56593642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full slide image">
    <p:spTree>
      <p:nvGrpSpPr>
        <p:cNvPr id="1" name=""/>
        <p:cNvGrpSpPr/>
        <p:nvPr/>
      </p:nvGrpSpPr>
      <p:grpSpPr>
        <a:xfrm>
          <a:off x="0" y="0"/>
          <a:ext cx="0" cy="0"/>
          <a:chOff x="0" y="0"/>
          <a:chExt cx="0" cy="0"/>
        </a:xfrm>
      </p:grpSpPr>
      <p:sp>
        <p:nvSpPr>
          <p:cNvPr id="4" name="Background"/>
          <p:cNvSpPr/>
          <p:nvPr userDrawn="1"/>
        </p:nvSpPr>
        <p:spPr>
          <a:xfrm>
            <a:off x="0" y="1"/>
            <a:ext cx="12191187" cy="685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577" dirty="0"/>
          </a:p>
        </p:txBody>
      </p:sp>
      <p:sp>
        <p:nvSpPr>
          <p:cNvPr id="7" name="Picture Placeholder 5"/>
          <p:cNvSpPr>
            <a:spLocks noGrp="1"/>
          </p:cNvSpPr>
          <p:nvPr>
            <p:ph type="pic" sz="quarter" idx="10" hasCustomPrompt="1"/>
          </p:nvPr>
        </p:nvSpPr>
        <p:spPr>
          <a:xfrm>
            <a:off x="-1" y="0"/>
            <a:ext cx="12194788" cy="6860012"/>
          </a:xfrm>
          <a:solidFill>
            <a:srgbClr val="F6F6F4"/>
          </a:solidFill>
        </p:spPr>
        <p:txBody>
          <a:bodyPr tIns="0" anchor="t" anchorCtr="0"/>
          <a:lstStyle>
            <a:lvl1pPr algn="ctr">
              <a:buNone/>
              <a:defRPr>
                <a:solidFill>
                  <a:schemeClr val="tx1"/>
                </a:solidFill>
              </a:defRPr>
            </a:lvl1pPr>
          </a:lstStyle>
          <a:p>
            <a:r>
              <a:rPr lang="en-GB" noProof="0"/>
              <a:t>Mark placeholder to insert image</a:t>
            </a:r>
            <a:endParaRPr lang="en-GB" noProof="0" dirty="0"/>
          </a:p>
        </p:txBody>
      </p:sp>
      <p:sp>
        <p:nvSpPr>
          <p:cNvPr id="2" name="Title 1"/>
          <p:cNvSpPr>
            <a:spLocks noGrp="1"/>
          </p:cNvSpPr>
          <p:nvPr>
            <p:ph type="title"/>
          </p:nvPr>
        </p:nvSpPr>
        <p:spPr>
          <a:xfrm>
            <a:off x="817035" y="452439"/>
            <a:ext cx="10556574" cy="1056000"/>
          </a:xfrm>
        </p:spPr>
        <p:txBody>
          <a:bodyPr/>
          <a:lstStyle>
            <a:lvl1pPr>
              <a:defRPr>
                <a:solidFill>
                  <a:schemeClr val="tx2"/>
                </a:solidFill>
              </a:defRPr>
            </a:lvl1pPr>
          </a:lstStyle>
          <a:p>
            <a:r>
              <a:rPr lang="en-US" noProof="0"/>
              <a:t>Click to edit Master title style</a:t>
            </a:r>
            <a:endParaRPr lang="en-GB" noProof="0" dirty="0"/>
          </a:p>
        </p:txBody>
      </p:sp>
      <p:sp>
        <p:nvSpPr>
          <p:cNvPr id="9" name="Text Placeholder 15">
            <a:extLst>
              <a:ext uri="{FF2B5EF4-FFF2-40B4-BE49-F238E27FC236}">
                <a16:creationId xmlns:a16="http://schemas.microsoft.com/office/drawing/2014/main" id="{1C804A56-02C2-4000-8DE1-4C682601C756}"/>
              </a:ext>
            </a:extLst>
          </p:cNvPr>
          <p:cNvSpPr>
            <a:spLocks noGrp="1"/>
          </p:cNvSpPr>
          <p:nvPr>
            <p:ph type="body" sz="quarter" idx="12" hasCustomPrompt="1"/>
          </p:nvPr>
        </p:nvSpPr>
        <p:spPr bwMode="auto">
          <a:xfrm>
            <a:off x="798617" y="6158174"/>
            <a:ext cx="1220559" cy="255541"/>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endParaRPr lang="en-GB" dirty="0"/>
          </a:p>
        </p:txBody>
      </p:sp>
      <p:sp>
        <p:nvSpPr>
          <p:cNvPr id="11" name="Slide Number Placeholder 5" hidden="1">
            <a:extLst>
              <a:ext uri="{FF2B5EF4-FFF2-40B4-BE49-F238E27FC236}">
                <a16:creationId xmlns:a16="http://schemas.microsoft.com/office/drawing/2014/main" id="{F8065A6C-B087-4C37-B9BF-238078D124A4}"/>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12" name="Footer Placeholder 4" hidden="1">
            <a:extLst>
              <a:ext uri="{FF2B5EF4-FFF2-40B4-BE49-F238E27FC236}">
                <a16:creationId xmlns:a16="http://schemas.microsoft.com/office/drawing/2014/main" id="{E644527C-AD14-4EB9-ADCA-31C61EBA6546}"/>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13" name="Date_DateCustomA" hidden="1">
            <a:extLst>
              <a:ext uri="{FF2B5EF4-FFF2-40B4-BE49-F238E27FC236}">
                <a16:creationId xmlns:a16="http://schemas.microsoft.com/office/drawing/2014/main" id="{264006B7-F2E6-4F4A-8D05-3F44F8F318B8}"/>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dirty="0"/>
          </a:p>
        </p:txBody>
      </p:sp>
    </p:spTree>
    <p:extLst>
      <p:ext uri="{BB962C8B-B14F-4D97-AF65-F5344CB8AC3E}">
        <p14:creationId xmlns:p14="http://schemas.microsoft.com/office/powerpoint/2010/main" val="116825502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3" name="Background"/>
          <p:cNvSpPr/>
          <p:nvPr userDrawn="1"/>
        </p:nvSpPr>
        <p:spPr>
          <a:xfrm>
            <a:off x="0" y="1"/>
            <a:ext cx="12191187" cy="685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577" dirty="0"/>
          </a:p>
        </p:txBody>
      </p:sp>
      <p:sp>
        <p:nvSpPr>
          <p:cNvPr id="6" name="Picture Placeholder 5"/>
          <p:cNvSpPr>
            <a:spLocks noGrp="1"/>
          </p:cNvSpPr>
          <p:nvPr>
            <p:ph type="pic" sz="quarter" idx="10" hasCustomPrompt="1"/>
          </p:nvPr>
        </p:nvSpPr>
        <p:spPr>
          <a:xfrm>
            <a:off x="-1" y="0"/>
            <a:ext cx="12194788" cy="6860012"/>
          </a:xfrm>
          <a:solidFill>
            <a:srgbClr val="F6F6F4"/>
          </a:solidFill>
        </p:spPr>
        <p:txBody>
          <a:bodyPr tIns="0" anchor="t" anchorCtr="0"/>
          <a:lstStyle>
            <a:lvl1pPr marL="0" indent="0" algn="ctr">
              <a:buNone/>
              <a:defRPr baseline="0">
                <a:solidFill>
                  <a:schemeClr val="tx1"/>
                </a:solidFill>
              </a:defRPr>
            </a:lvl1pPr>
          </a:lstStyle>
          <a:p>
            <a:r>
              <a:rPr lang="en-GB" noProof="0"/>
              <a:t>Mark placeholder to insert image</a:t>
            </a:r>
            <a:endParaRPr lang="en-GB" noProof="0" dirty="0"/>
          </a:p>
        </p:txBody>
      </p:sp>
      <p:sp>
        <p:nvSpPr>
          <p:cNvPr id="7" name="Text Placeholder 15">
            <a:extLst>
              <a:ext uri="{FF2B5EF4-FFF2-40B4-BE49-F238E27FC236}">
                <a16:creationId xmlns:a16="http://schemas.microsoft.com/office/drawing/2014/main" id="{D502E4A2-448F-4BE7-8814-15A06BDE1CF9}"/>
              </a:ext>
            </a:extLst>
          </p:cNvPr>
          <p:cNvSpPr>
            <a:spLocks noGrp="1"/>
          </p:cNvSpPr>
          <p:nvPr>
            <p:ph type="body" sz="quarter" idx="12" hasCustomPrompt="1"/>
          </p:nvPr>
        </p:nvSpPr>
        <p:spPr bwMode="auto">
          <a:xfrm>
            <a:off x="798617" y="6158174"/>
            <a:ext cx="1220559" cy="255541"/>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endParaRPr lang="en-GB" dirty="0"/>
          </a:p>
        </p:txBody>
      </p:sp>
      <p:sp>
        <p:nvSpPr>
          <p:cNvPr id="10" name="Slide Number Placeholder 5" hidden="1">
            <a:extLst>
              <a:ext uri="{FF2B5EF4-FFF2-40B4-BE49-F238E27FC236}">
                <a16:creationId xmlns:a16="http://schemas.microsoft.com/office/drawing/2014/main" id="{DB3E8C21-56F3-43EB-BF88-4EEB72C3F75D}"/>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11" name="Footer Placeholder 4" hidden="1">
            <a:extLst>
              <a:ext uri="{FF2B5EF4-FFF2-40B4-BE49-F238E27FC236}">
                <a16:creationId xmlns:a16="http://schemas.microsoft.com/office/drawing/2014/main" id="{35D10A95-9140-4D91-8BAE-655D1782D7D6}"/>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12" name="Date_DateCustomA" hidden="1">
            <a:extLst>
              <a:ext uri="{FF2B5EF4-FFF2-40B4-BE49-F238E27FC236}">
                <a16:creationId xmlns:a16="http://schemas.microsoft.com/office/drawing/2014/main" id="{3FA8083C-E59E-4629-A5C9-D403872552DF}"/>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dirty="0"/>
          </a:p>
        </p:txBody>
      </p:sp>
    </p:spTree>
    <p:extLst>
      <p:ext uri="{BB962C8B-B14F-4D97-AF65-F5344CB8AC3E}">
        <p14:creationId xmlns:p14="http://schemas.microsoft.com/office/powerpoint/2010/main" val="256515163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Quot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dirty="0"/>
          </a:p>
        </p:txBody>
      </p:sp>
      <p:sp>
        <p:nvSpPr>
          <p:cNvPr id="10" name="Title 1">
            <a:extLst>
              <a:ext uri="{FF2B5EF4-FFF2-40B4-BE49-F238E27FC236}">
                <a16:creationId xmlns:a16="http://schemas.microsoft.com/office/drawing/2014/main" id="{6C267E1F-9146-4D51-A3EA-9E268FC35F7A}"/>
              </a:ext>
            </a:extLst>
          </p:cNvPr>
          <p:cNvSpPr>
            <a:spLocks noGrp="1"/>
          </p:cNvSpPr>
          <p:nvPr>
            <p:ph type="title" hasCustomPrompt="1"/>
          </p:nvPr>
        </p:nvSpPr>
        <p:spPr>
          <a:xfrm>
            <a:off x="798618" y="1945915"/>
            <a:ext cx="7330441" cy="2768684"/>
          </a:xfrm>
        </p:spPr>
        <p:txBody>
          <a:bodyPr/>
          <a:lstStyle>
            <a:lvl1pPr>
              <a:defRPr sz="1026" b="0" cap="none">
                <a:solidFill>
                  <a:schemeClr val="tx1"/>
                </a:solidFill>
              </a:defRPr>
            </a:lvl1pPr>
          </a:lstStyle>
          <a:p>
            <a:r>
              <a:rPr lang="en-GB" dirty="0"/>
              <a:t>Quotation</a:t>
            </a:r>
          </a:p>
        </p:txBody>
      </p:sp>
      <p:sp>
        <p:nvSpPr>
          <p:cNvPr id="26" name="Text Placeholder 5">
            <a:extLst>
              <a:ext uri="{FF2B5EF4-FFF2-40B4-BE49-F238E27FC236}">
                <a16:creationId xmlns:a16="http://schemas.microsoft.com/office/drawing/2014/main" id="{1E1ADCAE-53E0-4B32-A2CA-095078D0C634}"/>
              </a:ext>
            </a:extLst>
          </p:cNvPr>
          <p:cNvSpPr>
            <a:spLocks noGrp="1"/>
          </p:cNvSpPr>
          <p:nvPr>
            <p:ph type="body" sz="quarter" idx="11" hasCustomPrompt="1"/>
          </p:nvPr>
        </p:nvSpPr>
        <p:spPr>
          <a:xfrm>
            <a:off x="796073" y="5018936"/>
            <a:ext cx="7332990" cy="1084011"/>
          </a:xfrm>
        </p:spPr>
        <p:txBody>
          <a:bodyPr lIns="0"/>
          <a:lstStyle>
            <a:lvl1pPr marL="0" indent="0">
              <a:buFont typeface="Arial" panose="020B0604020202020204" pitchFamily="34" charset="0"/>
              <a:buChar char="​"/>
              <a:defRPr sz="513" baseline="0">
                <a:solidFill>
                  <a:schemeClr val="tx1"/>
                </a:solidFill>
              </a:defRPr>
            </a:lvl1pPr>
          </a:lstStyle>
          <a:p>
            <a:pPr lvl="0"/>
            <a:r>
              <a:rPr lang="en-GB"/>
              <a:t>Name, Title</a:t>
            </a:r>
            <a:endParaRPr lang="en-GB" dirty="0"/>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31421AFA-3AE7-4CEA-BC9B-447859BED57B}" type="slidenum">
              <a:rPr lang="en-GB" smtClean="0"/>
              <a:pPr/>
              <a:t>‹#›</a:t>
            </a:fld>
            <a:endParaRPr lang="en-GB" dirty="0"/>
          </a:p>
        </p:txBody>
      </p:sp>
      <p:sp>
        <p:nvSpPr>
          <p:cNvPr id="6" name="TextBox 5">
            <a:extLst>
              <a:ext uri="{FF2B5EF4-FFF2-40B4-BE49-F238E27FC236}">
                <a16:creationId xmlns:a16="http://schemas.microsoft.com/office/drawing/2014/main" id="{CEE8FF56-E9E6-4CE1-A183-9B907183A27A}"/>
              </a:ext>
            </a:extLst>
          </p:cNvPr>
          <p:cNvSpPr txBox="1"/>
          <p:nvPr userDrawn="1"/>
        </p:nvSpPr>
        <p:spPr bwMode="auto">
          <a:xfrm>
            <a:off x="805542" y="2249831"/>
            <a:ext cx="1671854" cy="2829504"/>
          </a:xfrm>
          <a:prstGeom prst="rect">
            <a:avLst/>
          </a:prstGeom>
          <a:noFill/>
          <a:ln w="9525">
            <a:noFill/>
            <a:miter lim="800000"/>
            <a:headEnd/>
            <a:tailEnd/>
          </a:ln>
          <a:effectLst/>
        </p:spPr>
        <p:txBody>
          <a:bodyPr vert="horz" wrap="square" lIns="11546" tIns="0" rIns="0" bIns="0" numCol="1" rtlCol="0" anchor="t" anchorCtr="0" compatLnSpc="1">
            <a:prstTxWarp prst="textNoShape">
              <a:avLst/>
            </a:prstTxWarp>
            <a:noAutofit/>
          </a:bodyPr>
          <a:lstStyle/>
          <a:p>
            <a:pPr marL="4073" marR="0" indent="-8145" algn="l" defTabSz="146621" rtl="0" eaLnBrk="0" fontAlgn="base" latinLnBrk="0" hangingPunct="0">
              <a:lnSpc>
                <a:spcPts val="694"/>
              </a:lnSpc>
              <a:spcBef>
                <a:spcPct val="0"/>
              </a:spcBef>
              <a:spcAft>
                <a:spcPts val="481"/>
              </a:spcAft>
              <a:buClrTx/>
              <a:buSzTx/>
              <a:tabLst/>
            </a:pPr>
            <a:r>
              <a:rPr kumimoji="0" lang="en-GB" sz="6382"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a:t>
            </a:r>
          </a:p>
        </p:txBody>
      </p:sp>
      <p:sp>
        <p:nvSpPr>
          <p:cNvPr id="14" name="Freeform 5">
            <a:extLst>
              <a:ext uri="{FF2B5EF4-FFF2-40B4-BE49-F238E27FC236}">
                <a16:creationId xmlns:a16="http://schemas.microsoft.com/office/drawing/2014/main" id="{A9AB153B-AFF1-4043-8D3F-263FEAF2377E}"/>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tx1"/>
          </a:solidFill>
          <a:ln>
            <a:noFill/>
          </a:ln>
        </p:spPr>
        <p:txBody>
          <a:bodyPr vert="horz" wrap="square" lIns="29326" tIns="14663" rIns="29326" bIns="14663" numCol="1" anchor="t" anchorCtr="0" compatLnSpc="1">
            <a:prstTxWarp prst="textNoShape">
              <a:avLst/>
            </a:prstTxWarp>
          </a:bodyPr>
          <a:lstStyle/>
          <a:p>
            <a:endParaRPr lang="en-GB" sz="577" dirty="0"/>
          </a:p>
        </p:txBody>
      </p:sp>
      <p:sp>
        <p:nvSpPr>
          <p:cNvPr id="15" name="Footer Placeholder 4">
            <a:extLst>
              <a:ext uri="{FF2B5EF4-FFF2-40B4-BE49-F238E27FC236}">
                <a16:creationId xmlns:a16="http://schemas.microsoft.com/office/drawing/2014/main" id="{55D8EFE0-F00D-46BC-9E29-8C829868EFF4}"/>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tx1"/>
                </a:solidFill>
              </a:defRPr>
            </a:lvl1pPr>
          </a:lstStyle>
          <a:p>
            <a:pPr algn="r"/>
            <a:endParaRPr lang="en-GB" dirty="0"/>
          </a:p>
        </p:txBody>
      </p:sp>
      <p:sp>
        <p:nvSpPr>
          <p:cNvPr id="17" name="Date_DateCustomA">
            <a:extLst>
              <a:ext uri="{FF2B5EF4-FFF2-40B4-BE49-F238E27FC236}">
                <a16:creationId xmlns:a16="http://schemas.microsoft.com/office/drawing/2014/main" id="{BA90A93D-37F9-4C65-91AC-8C8D05B4C5B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A8D4E2C-4AD4-4902-9AA6-258C412AEED1}" type="datetime1">
              <a:rPr lang="en-GB" smtClean="0"/>
              <a:t>20/06/2024</a:t>
            </a:fld>
            <a:endParaRPr lang="en-GB" dirty="0"/>
          </a:p>
        </p:txBody>
      </p:sp>
    </p:spTree>
    <p:extLst>
      <p:ext uri="{BB962C8B-B14F-4D97-AF65-F5344CB8AC3E}">
        <p14:creationId xmlns:p14="http://schemas.microsoft.com/office/powerpoint/2010/main" val="3951909595"/>
      </p:ext>
    </p:extLst>
  </p:cSld>
  <p:clrMapOvr>
    <a:overrideClrMapping bg1="dk1" tx1="lt1" bg2="dk2" tx2="lt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4" name="Title 7">
            <a:extLst>
              <a:ext uri="{FF2B5EF4-FFF2-40B4-BE49-F238E27FC236}">
                <a16:creationId xmlns:a16="http://schemas.microsoft.com/office/drawing/2014/main" id="{65C857B0-BA7F-4231-B59A-526700FAC84B}"/>
              </a:ext>
            </a:extLst>
          </p:cNvPr>
          <p:cNvSpPr>
            <a:spLocks noGrp="1"/>
          </p:cNvSpPr>
          <p:nvPr>
            <p:ph type="title"/>
          </p:nvPr>
        </p:nvSpPr>
        <p:spPr>
          <a:xfrm>
            <a:off x="798617" y="452439"/>
            <a:ext cx="10590003" cy="748626"/>
          </a:xfrm>
        </p:spPr>
        <p:txBody>
          <a:body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702E9997-006D-492C-9877-F7617EDD299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7" name="Date_DateCustomA">
            <a:extLst>
              <a:ext uri="{FF2B5EF4-FFF2-40B4-BE49-F238E27FC236}">
                <a16:creationId xmlns:a16="http://schemas.microsoft.com/office/drawing/2014/main" id="{5FC6988B-A4CB-4E12-A565-68D705C3ABC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2E10D1A-D613-41CE-B02A-846290684BA0}" type="datetime1">
              <a:rPr lang="en-GB" smtClean="0"/>
              <a:t>20/06/2024</a:t>
            </a:fld>
            <a:endParaRPr lang="en-GB" dirty="0"/>
          </a:p>
        </p:txBody>
      </p:sp>
    </p:spTree>
    <p:extLst>
      <p:ext uri="{BB962C8B-B14F-4D97-AF65-F5344CB8AC3E}">
        <p14:creationId xmlns:p14="http://schemas.microsoft.com/office/powerpoint/2010/main" val="420563274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3" name="Footer Placeholder 4">
            <a:extLst>
              <a:ext uri="{FF2B5EF4-FFF2-40B4-BE49-F238E27FC236}">
                <a16:creationId xmlns:a16="http://schemas.microsoft.com/office/drawing/2014/main" id="{3ED85EA1-D7DA-4042-AE58-E34BD5AC52E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5" name="Date_DateCustomA">
            <a:extLst>
              <a:ext uri="{FF2B5EF4-FFF2-40B4-BE49-F238E27FC236}">
                <a16:creationId xmlns:a16="http://schemas.microsoft.com/office/drawing/2014/main" id="{235F65ED-2265-47AB-ACC6-E4B66C390755}"/>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47FB7D42-25F0-4925-AB91-37097B4A81F1}" type="datetime1">
              <a:rPr lang="en-GB" smtClean="0"/>
              <a:t>20/06/2024</a:t>
            </a:fld>
            <a:endParaRPr lang="en-GB" dirty="0"/>
          </a:p>
        </p:txBody>
      </p:sp>
    </p:spTree>
    <p:extLst>
      <p:ext uri="{BB962C8B-B14F-4D97-AF65-F5344CB8AC3E}">
        <p14:creationId xmlns:p14="http://schemas.microsoft.com/office/powerpoint/2010/main" val="15881679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End slide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dirty="0"/>
          </a:p>
        </p:txBody>
      </p:sp>
      <p:sp>
        <p:nvSpPr>
          <p:cNvPr id="2" name="Title Placeholder 1"/>
          <p:cNvSpPr>
            <a:spLocks noGrp="1"/>
          </p:cNvSpPr>
          <p:nvPr>
            <p:ph type="ctrTitle"/>
          </p:nvPr>
        </p:nvSpPr>
        <p:spPr>
          <a:xfrm>
            <a:off x="798617" y="452440"/>
            <a:ext cx="10590003" cy="1196444"/>
          </a:xfrm>
        </p:spPr>
        <p:txBody>
          <a:bodyPr tIns="0"/>
          <a:lstStyle>
            <a:lvl1pPr>
              <a:defRPr sz="1026" cap="all" baseline="0" smtClean="0">
                <a:solidFill>
                  <a:schemeClr val="bg1"/>
                </a:solidFill>
                <a:latin typeface="Verdana" pitchFamily="34" charset="0"/>
              </a:defRPr>
            </a:lvl1pPr>
          </a:lstStyle>
          <a:p>
            <a:r>
              <a:rPr lang="en-US" noProof="0"/>
              <a:t>Click to edit Master title style</a:t>
            </a:r>
            <a:endParaRPr lang="en-GB" noProof="0" dirty="0"/>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dirty="0"/>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9270F80D-0DED-41DC-8003-ACA44099192B}" type="datetime1">
              <a:rPr lang="en-GB" smtClean="0"/>
              <a:t>20/06/2024</a:t>
            </a:fld>
            <a:endParaRPr lang="en-GB" dirty="0"/>
          </a:p>
        </p:txBody>
      </p:sp>
      <p:sp>
        <p:nvSpPr>
          <p:cNvPr id="11" name="Text Placeholder 2">
            <a:extLst>
              <a:ext uri="{FF2B5EF4-FFF2-40B4-BE49-F238E27FC236}">
                <a16:creationId xmlns:a16="http://schemas.microsoft.com/office/drawing/2014/main" id="{FCCD3D23-05BF-4B57-8284-15FF6D12171B}"/>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dirty="0"/>
              <a:t>.</a:t>
            </a:r>
          </a:p>
        </p:txBody>
      </p:sp>
    </p:spTree>
    <p:extLst>
      <p:ext uri="{BB962C8B-B14F-4D97-AF65-F5344CB8AC3E}">
        <p14:creationId xmlns:p14="http://schemas.microsoft.com/office/powerpoint/2010/main" val="3695289965"/>
      </p:ext>
    </p:extLst>
  </p:cSld>
  <p:clrMapOvr>
    <a:overrideClrMapping bg1="lt1" tx1="dk1" bg2="lt2" tx2="dk2" accent1="accent1" accent2="accent2" accent3="accent3" accent4="accent4" accent5="accent5" accent6="accent6" hlink="hlink" folHlink="folHlink"/>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End slide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dirty="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619" y="452439"/>
            <a:ext cx="4886960" cy="4431940"/>
          </a:xfrm>
        </p:spPr>
        <p:txBody>
          <a:bodyPr/>
          <a:lstStyle>
            <a:lvl1pPr>
              <a:defRPr>
                <a:solidFill>
                  <a:schemeClr val="bg1"/>
                </a:solidFill>
              </a:defRPr>
            </a:lvl1pPr>
          </a:lstStyle>
          <a:p>
            <a:r>
              <a:rPr lang="en-GB" dirty="0"/>
              <a:t>Thank you</a:t>
            </a:r>
          </a:p>
        </p:txBody>
      </p:sp>
      <p:sp>
        <p:nvSpPr>
          <p:cNvPr id="10" name="Text Placeholder 5">
            <a:extLst>
              <a:ext uri="{FF2B5EF4-FFF2-40B4-BE49-F238E27FC236}">
                <a16:creationId xmlns:a16="http://schemas.microsoft.com/office/drawing/2014/main" id="{7AAE5DB4-A422-4286-935C-1ABCA4CCEFA2}"/>
              </a:ext>
            </a:extLst>
          </p:cNvPr>
          <p:cNvSpPr>
            <a:spLocks noGrp="1"/>
          </p:cNvSpPr>
          <p:nvPr>
            <p:ph type="body" sz="quarter" idx="11" hasCustomPrompt="1"/>
          </p:nvPr>
        </p:nvSpPr>
        <p:spPr>
          <a:xfrm>
            <a:off x="798619" y="4970200"/>
            <a:ext cx="4886960" cy="365370"/>
          </a:xfrm>
        </p:spPr>
        <p:txBody>
          <a:bodyPr lIns="0" anchor="b" anchorCtr="0"/>
          <a:lstStyle>
            <a:lvl1pPr marL="0" indent="0">
              <a:buFont typeface="Arial" panose="020B0604020202020204" pitchFamily="34" charset="0"/>
              <a:buChar char="​"/>
              <a:defRPr sz="513">
                <a:solidFill>
                  <a:schemeClr val="bg1"/>
                </a:solidFill>
              </a:defRPr>
            </a:lvl1pPr>
          </a:lstStyle>
          <a:p>
            <a:pPr lvl="0"/>
            <a:r>
              <a:rPr lang="en-GB"/>
              <a:t>Name, Department </a:t>
            </a:r>
            <a:endParaRPr lang="en-GB" dirty="0"/>
          </a:p>
        </p:txBody>
      </p:sp>
      <p:sp>
        <p:nvSpPr>
          <p:cNvPr id="6" name="Text Placeholder 5">
            <a:extLst>
              <a:ext uri="{FF2B5EF4-FFF2-40B4-BE49-F238E27FC236}">
                <a16:creationId xmlns:a16="http://schemas.microsoft.com/office/drawing/2014/main" id="{9B862EE0-F879-436B-A5EA-70A7F83ABF80}"/>
              </a:ext>
            </a:extLst>
          </p:cNvPr>
          <p:cNvSpPr>
            <a:spLocks noGrp="1"/>
          </p:cNvSpPr>
          <p:nvPr>
            <p:ph type="body" sz="quarter" idx="12" hasCustomPrompt="1"/>
          </p:nvPr>
        </p:nvSpPr>
        <p:spPr>
          <a:xfrm>
            <a:off x="798619" y="5332765"/>
            <a:ext cx="4886960" cy="424314"/>
          </a:xfrm>
        </p:spPr>
        <p:txBody>
          <a:bodyPr/>
          <a:lstStyle>
            <a:lvl1pPr marL="0" indent="0">
              <a:spcAft>
                <a:spcPts val="0"/>
              </a:spcAft>
              <a:buFontTx/>
              <a:buNone/>
              <a:defRPr sz="513">
                <a:solidFill>
                  <a:schemeClr val="bg1"/>
                </a:solidFill>
              </a:defRPr>
            </a:lvl1pPr>
            <a:lvl2pPr marL="126995" indent="0">
              <a:buFontTx/>
              <a:buNone/>
              <a:defRPr sz="513">
                <a:solidFill>
                  <a:schemeClr val="bg1"/>
                </a:solidFill>
              </a:defRPr>
            </a:lvl2pPr>
            <a:lvl3pPr marL="233208" indent="0">
              <a:buFontTx/>
              <a:buNone/>
              <a:defRPr sz="513">
                <a:solidFill>
                  <a:schemeClr val="bg1"/>
                </a:solidFill>
              </a:defRPr>
            </a:lvl3pPr>
            <a:lvl4pPr>
              <a:buFontTx/>
              <a:buNone/>
              <a:defRPr sz="513">
                <a:solidFill>
                  <a:schemeClr val="bg1"/>
                </a:solidFill>
              </a:defRPr>
            </a:lvl4pPr>
            <a:lvl5pPr>
              <a:buFontTx/>
              <a:buNone/>
              <a:defRPr sz="513">
                <a:solidFill>
                  <a:schemeClr val="bg1"/>
                </a:solidFill>
              </a:defRPr>
            </a:lvl5pPr>
          </a:lstStyle>
          <a:p>
            <a:pPr lvl="0"/>
            <a:r>
              <a:rPr lang="en-GB"/>
              <a:t>xxx@ramboll.com</a:t>
            </a:r>
            <a:endParaRPr lang="en-GB" dirty="0"/>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4" name="Footer Placeholder 4">
            <a:extLst>
              <a:ext uri="{FF2B5EF4-FFF2-40B4-BE49-F238E27FC236}">
                <a16:creationId xmlns:a16="http://schemas.microsoft.com/office/drawing/2014/main" id="{09855619-46E8-4B12-8D5A-DE355202193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dirty="0"/>
          </a:p>
        </p:txBody>
      </p:sp>
      <p:sp>
        <p:nvSpPr>
          <p:cNvPr id="18" name="Date_DateCustomA">
            <a:extLst>
              <a:ext uri="{FF2B5EF4-FFF2-40B4-BE49-F238E27FC236}">
                <a16:creationId xmlns:a16="http://schemas.microsoft.com/office/drawing/2014/main" id="{9CA6E42C-D397-4857-89FC-8B948A957D4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5E849237-3873-4459-A547-67B1C8011873}" type="datetime1">
              <a:rPr lang="en-GB" smtClean="0"/>
              <a:t>20/06/2024</a:t>
            </a:fld>
            <a:endParaRPr lang="en-GB" dirty="0"/>
          </a:p>
        </p:txBody>
      </p:sp>
      <p:pic>
        <p:nvPicPr>
          <p:cNvPr id="17" name="Picture 16">
            <a:extLst>
              <a:ext uri="{FF2B5EF4-FFF2-40B4-BE49-F238E27FC236}">
                <a16:creationId xmlns:a16="http://schemas.microsoft.com/office/drawing/2014/main" id="{649BD8C4-6612-438B-81F5-53DD9DF90E70}"/>
              </a:ext>
            </a:extLst>
          </p:cNvPr>
          <p:cNvPicPr>
            <a:picLocks noChangeAspect="1"/>
          </p:cNvPicPr>
          <p:nvPr userDrawn="1"/>
        </p:nvPicPr>
        <p:blipFill>
          <a:blip r:embed="rId2"/>
          <a:stretch>
            <a:fillRect/>
          </a:stretch>
        </p:blipFill>
        <p:spPr>
          <a:xfrm>
            <a:off x="798618" y="6158174"/>
            <a:ext cx="2826825" cy="255541"/>
          </a:xfrm>
          <a:prstGeom prst="rect">
            <a:avLst/>
          </a:prstGeom>
        </p:spPr>
      </p:pic>
    </p:spTree>
    <p:extLst>
      <p:ext uri="{BB962C8B-B14F-4D97-AF65-F5344CB8AC3E}">
        <p14:creationId xmlns:p14="http://schemas.microsoft.com/office/powerpoint/2010/main" val="3896552454"/>
      </p:ext>
    </p:extLst>
  </p:cSld>
  <p:clrMapOvr>
    <a:overrideClrMapping bg1="lt1" tx1="dk1" bg2="lt2" tx2="dk2" accent1="accent1" accent2="accent2" accent3="accent3" accent4="accent4" accent5="accent5" accent6="accent6" hlink="hlink" folHlink="folHlink"/>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End slide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dirty="0"/>
          </a:p>
        </p:txBody>
      </p:sp>
      <p:pic>
        <p:nvPicPr>
          <p:cNvPr id="5" name="Picture 4">
            <a:extLst>
              <a:ext uri="{FF2B5EF4-FFF2-40B4-BE49-F238E27FC236}">
                <a16:creationId xmlns:a16="http://schemas.microsoft.com/office/drawing/2014/main" id="{550DA34D-CD01-4059-B449-4DCD238F6AE1}"/>
              </a:ext>
            </a:extLst>
          </p:cNvPr>
          <p:cNvPicPr>
            <a:picLocks noChangeAspect="1"/>
          </p:cNvPicPr>
          <p:nvPr userDrawn="1"/>
        </p:nvPicPr>
        <p:blipFill>
          <a:blip r:embed="rId2"/>
          <a:stretch>
            <a:fillRect/>
          </a:stretch>
        </p:blipFill>
        <p:spPr>
          <a:xfrm>
            <a:off x="1" y="1240"/>
            <a:ext cx="12192000" cy="6855521"/>
          </a:xfrm>
          <a:prstGeom prst="rect">
            <a:avLst/>
          </a:prstGeom>
        </p:spPr>
      </p:pic>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dirty="0"/>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9270F80D-0DED-41DC-8003-ACA44099192B}" type="datetime1">
              <a:rPr lang="en-GB" smtClean="0"/>
              <a:t>20/06/2024</a:t>
            </a:fld>
            <a:endParaRPr lang="en-GB" dirty="0"/>
          </a:p>
        </p:txBody>
      </p:sp>
    </p:spTree>
    <p:extLst>
      <p:ext uri="{BB962C8B-B14F-4D97-AF65-F5344CB8AC3E}">
        <p14:creationId xmlns:p14="http://schemas.microsoft.com/office/powerpoint/2010/main" val="354046894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76188E-E253-4A4B-BD8D-1783856CAA04}"/>
              </a:ext>
            </a:extLst>
          </p:cNvPr>
          <p:cNvGraphicFramePr>
            <a:graphicFrameLocks noChangeAspect="1"/>
          </p:cNvGraphicFramePr>
          <p:nvPr userDrawn="1">
            <p:custDataLst>
              <p:tags r:id="rId1"/>
            </p:custDataLst>
            <p:extLst>
              <p:ext uri="{D42A27DB-BD31-4B8C-83A1-F6EECF244321}">
                <p14:modId xmlns:p14="http://schemas.microsoft.com/office/powerpoint/2010/main" val="4136364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076188E-E253-4A4B-BD8D-1783856CAA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20-06-2024</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B46BAA-A2E8-457D-94AC-1857CC2E6494}"/>
              </a:ext>
            </a:extLst>
          </p:cNvPr>
          <p:cNvGraphicFramePr>
            <a:graphicFrameLocks noChangeAspect="1"/>
          </p:cNvGraphicFramePr>
          <p:nvPr userDrawn="1">
            <p:custDataLst>
              <p:tags r:id="rId1"/>
            </p:custDataLst>
            <p:extLst>
              <p:ext uri="{D42A27DB-BD31-4B8C-83A1-F6EECF244321}">
                <p14:modId xmlns:p14="http://schemas.microsoft.com/office/powerpoint/2010/main" val="155986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01B46BAA-A2E8-457D-94AC-1857CC2E64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9C1A5A-EB28-4216-AC93-A944D445B0E8}"/>
              </a:ext>
            </a:extLst>
          </p:cNvPr>
          <p:cNvGraphicFramePr>
            <a:graphicFrameLocks noChangeAspect="1"/>
          </p:cNvGraphicFramePr>
          <p:nvPr userDrawn="1">
            <p:custDataLst>
              <p:tags r:id="rId1"/>
            </p:custDataLst>
            <p:extLst>
              <p:ext uri="{D42A27DB-BD31-4B8C-83A1-F6EECF244321}">
                <p14:modId xmlns:p14="http://schemas.microsoft.com/office/powerpoint/2010/main" val="47672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E9C1A5A-EB28-4216-AC93-A944D445B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20-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60DACD-5627-4F02-A9F8-42F94F50466D}"/>
              </a:ext>
            </a:extLst>
          </p:cNvPr>
          <p:cNvGraphicFramePr>
            <a:graphicFrameLocks noChangeAspect="1"/>
          </p:cNvGraphicFramePr>
          <p:nvPr userDrawn="1">
            <p:custDataLst>
              <p:tags r:id="rId1"/>
            </p:custDataLst>
            <p:extLst>
              <p:ext uri="{D42A27DB-BD31-4B8C-83A1-F6EECF244321}">
                <p14:modId xmlns:p14="http://schemas.microsoft.com/office/powerpoint/2010/main" val="3428621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B60DACD-5627-4F02-A9F8-42F94F5046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20-06-2024</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67D169-DC2C-4C1E-847B-EE1C8436024E}"/>
              </a:ext>
            </a:extLst>
          </p:cNvPr>
          <p:cNvGraphicFramePr>
            <a:graphicFrameLocks noChangeAspect="1"/>
          </p:cNvGraphicFramePr>
          <p:nvPr userDrawn="1">
            <p:custDataLst>
              <p:tags r:id="rId1"/>
            </p:custDataLst>
            <p:extLst>
              <p:ext uri="{D42A27DB-BD31-4B8C-83A1-F6EECF244321}">
                <p14:modId xmlns:p14="http://schemas.microsoft.com/office/powerpoint/2010/main" val="29901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7D67D169-DC2C-4C1E-847B-EE1C843602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20-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DE568B4-F905-46CA-9BB1-DEA2C5A448B9}"/>
              </a:ext>
            </a:extLst>
          </p:cNvPr>
          <p:cNvGraphicFramePr>
            <a:graphicFrameLocks noChangeAspect="1"/>
          </p:cNvGraphicFramePr>
          <p:nvPr userDrawn="1">
            <p:custDataLst>
              <p:tags r:id="rId1"/>
            </p:custDataLst>
            <p:extLst>
              <p:ext uri="{D42A27DB-BD31-4B8C-83A1-F6EECF244321}">
                <p14:modId xmlns:p14="http://schemas.microsoft.com/office/powerpoint/2010/main" val="13645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EDE568B4-F905-46CA-9BB1-DEA2C5A448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20-06-2024</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740CFA-D8D0-47FA-977A-041A1AEF5272}"/>
              </a:ext>
            </a:extLst>
          </p:cNvPr>
          <p:cNvGraphicFramePr>
            <a:graphicFrameLocks noChangeAspect="1"/>
          </p:cNvGraphicFramePr>
          <p:nvPr userDrawn="1">
            <p:custDataLst>
              <p:tags r:id="rId1"/>
            </p:custDataLst>
            <p:extLst>
              <p:ext uri="{D42A27DB-BD31-4B8C-83A1-F6EECF244321}">
                <p14:modId xmlns:p14="http://schemas.microsoft.com/office/powerpoint/2010/main" val="77703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3740CFA-D8D0-47FA-977A-041A1AEF52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20-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BDDF649-3F2F-4F6B-B786-8C0CF77586C4}"/>
              </a:ext>
            </a:extLst>
          </p:cNvPr>
          <p:cNvGraphicFramePr>
            <a:graphicFrameLocks noChangeAspect="1"/>
          </p:cNvGraphicFramePr>
          <p:nvPr userDrawn="1">
            <p:custDataLst>
              <p:tags r:id="rId1"/>
            </p:custDataLst>
            <p:extLst>
              <p:ext uri="{D42A27DB-BD31-4B8C-83A1-F6EECF244321}">
                <p14:modId xmlns:p14="http://schemas.microsoft.com/office/powerpoint/2010/main" val="77858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BDDF649-3F2F-4F6B-B786-8C0CF77586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20-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F20F4B-6951-4CEB-845B-4EE79F2B6881}"/>
              </a:ext>
            </a:extLst>
          </p:cNvPr>
          <p:cNvGraphicFramePr>
            <a:graphicFrameLocks noChangeAspect="1"/>
          </p:cNvGraphicFramePr>
          <p:nvPr userDrawn="1">
            <p:custDataLst>
              <p:tags r:id="rId1"/>
            </p:custDataLst>
            <p:extLst>
              <p:ext uri="{D42A27DB-BD31-4B8C-83A1-F6EECF244321}">
                <p14:modId xmlns:p14="http://schemas.microsoft.com/office/powerpoint/2010/main" val="11982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EF20F4B-6951-4CEB-845B-4EE79F2B68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20-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7C75E44-E8D7-4390-A552-8BCF697EBDF3}"/>
              </a:ext>
            </a:extLst>
          </p:cNvPr>
          <p:cNvGraphicFramePr>
            <a:graphicFrameLocks noChangeAspect="1"/>
          </p:cNvGraphicFramePr>
          <p:nvPr userDrawn="1">
            <p:custDataLst>
              <p:tags r:id="rId1"/>
            </p:custDataLst>
            <p:extLst>
              <p:ext uri="{D42A27DB-BD31-4B8C-83A1-F6EECF244321}">
                <p14:modId xmlns:p14="http://schemas.microsoft.com/office/powerpoint/2010/main" val="182054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17C75E44-E8D7-4390-A552-8BCF697E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20-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00FB85-A754-4E47-8C8C-87941D6B2819}"/>
              </a:ext>
            </a:extLst>
          </p:cNvPr>
          <p:cNvGraphicFramePr>
            <a:graphicFrameLocks noChangeAspect="1"/>
          </p:cNvGraphicFramePr>
          <p:nvPr userDrawn="1">
            <p:custDataLst>
              <p:tags r:id="rId1"/>
            </p:custDataLst>
            <p:extLst>
              <p:ext uri="{D42A27DB-BD31-4B8C-83A1-F6EECF244321}">
                <p14:modId xmlns:p14="http://schemas.microsoft.com/office/powerpoint/2010/main" val="390953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C500FB85-A754-4E47-8C8C-87941D6B2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20-06-2024</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A2EA8C-0D85-4C0B-ACDB-A259F1408229}"/>
              </a:ext>
            </a:extLst>
          </p:cNvPr>
          <p:cNvGraphicFramePr>
            <a:graphicFrameLocks noChangeAspect="1"/>
          </p:cNvGraphicFramePr>
          <p:nvPr userDrawn="1">
            <p:custDataLst>
              <p:tags r:id="rId1"/>
            </p:custDataLst>
            <p:extLst>
              <p:ext uri="{D42A27DB-BD31-4B8C-83A1-F6EECF244321}">
                <p14:modId xmlns:p14="http://schemas.microsoft.com/office/powerpoint/2010/main" val="374565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C1A2EA8C-0D85-4C0B-ACDB-A259F1408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20-06-2024</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1DCF9-DF37-48BB-9DF8-64E9ADDE1E7E}"/>
              </a:ext>
            </a:extLst>
          </p:cNvPr>
          <p:cNvGraphicFramePr>
            <a:graphicFrameLocks noChangeAspect="1"/>
          </p:cNvGraphicFramePr>
          <p:nvPr userDrawn="1">
            <p:custDataLst>
              <p:tags r:id="rId1"/>
            </p:custDataLst>
            <p:extLst>
              <p:ext uri="{D42A27DB-BD31-4B8C-83A1-F6EECF244321}">
                <p14:modId xmlns:p14="http://schemas.microsoft.com/office/powerpoint/2010/main" val="178730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1B1DCF9-DF37-48BB-9DF8-64E9ADDE1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02D016-0FC6-4114-A928-57BCB225D30C}"/>
              </a:ext>
            </a:extLst>
          </p:cNvPr>
          <p:cNvGraphicFramePr>
            <a:graphicFrameLocks noChangeAspect="1"/>
          </p:cNvGraphicFramePr>
          <p:nvPr userDrawn="1">
            <p:custDataLst>
              <p:tags r:id="rId1"/>
            </p:custDataLst>
            <p:extLst>
              <p:ext uri="{D42A27DB-BD31-4B8C-83A1-F6EECF244321}">
                <p14:modId xmlns:p14="http://schemas.microsoft.com/office/powerpoint/2010/main" val="95794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A02D016-0FC6-4114-A928-57BCB225D3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20-06-2024</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E0B296-B989-41FA-8D8F-F0016D23F026}"/>
              </a:ext>
            </a:extLst>
          </p:cNvPr>
          <p:cNvGraphicFramePr>
            <a:graphicFrameLocks noChangeAspect="1"/>
          </p:cNvGraphicFramePr>
          <p:nvPr userDrawn="1">
            <p:custDataLst>
              <p:tags r:id="rId1"/>
            </p:custDataLst>
            <p:extLst>
              <p:ext uri="{D42A27DB-BD31-4B8C-83A1-F6EECF244321}">
                <p14:modId xmlns:p14="http://schemas.microsoft.com/office/powerpoint/2010/main" val="2651852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6E0B296-B989-41FA-8D8F-F0016D23F0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20-06-2024</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9D3CCD-B301-47C4-A93F-E7AE8BEC37C6}"/>
              </a:ext>
            </a:extLst>
          </p:cNvPr>
          <p:cNvGraphicFramePr>
            <a:graphicFrameLocks noChangeAspect="1"/>
          </p:cNvGraphicFramePr>
          <p:nvPr userDrawn="1">
            <p:custDataLst>
              <p:tags r:id="rId1"/>
            </p:custDataLst>
            <p:extLst>
              <p:ext uri="{D42A27DB-BD31-4B8C-83A1-F6EECF244321}">
                <p14:modId xmlns:p14="http://schemas.microsoft.com/office/powerpoint/2010/main" val="294021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C9D3CCD-B301-47C4-A93F-E7AE8BEC37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20-06-2024</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076864-73B2-46AC-82B9-3F6ED290747F}"/>
              </a:ext>
            </a:extLst>
          </p:cNvPr>
          <p:cNvGraphicFramePr>
            <a:graphicFrameLocks noChangeAspect="1"/>
          </p:cNvGraphicFramePr>
          <p:nvPr userDrawn="1">
            <p:custDataLst>
              <p:tags r:id="rId1"/>
            </p:custDataLst>
            <p:extLst>
              <p:ext uri="{D42A27DB-BD31-4B8C-83A1-F6EECF244321}">
                <p14:modId xmlns:p14="http://schemas.microsoft.com/office/powerpoint/2010/main" val="196677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6D076864-73B2-46AC-82B9-3F6ED29074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20-06-2024</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A7D7B5-B60E-4F01-A5D4-9EC13B1333FC}"/>
              </a:ext>
            </a:extLst>
          </p:cNvPr>
          <p:cNvGraphicFramePr>
            <a:graphicFrameLocks noChangeAspect="1"/>
          </p:cNvGraphicFramePr>
          <p:nvPr userDrawn="1">
            <p:custDataLst>
              <p:tags r:id="rId1"/>
            </p:custDataLst>
            <p:extLst>
              <p:ext uri="{D42A27DB-BD31-4B8C-83A1-F6EECF244321}">
                <p14:modId xmlns:p14="http://schemas.microsoft.com/office/powerpoint/2010/main" val="278332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AA7D7B5-B60E-4F01-A5D4-9EC13B133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20-06-2024</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C4A377-AF00-475C-BBCA-2D62E63D9C7A}"/>
              </a:ext>
            </a:extLst>
          </p:cNvPr>
          <p:cNvGraphicFramePr>
            <a:graphicFrameLocks noChangeAspect="1"/>
          </p:cNvGraphicFramePr>
          <p:nvPr userDrawn="1">
            <p:custDataLst>
              <p:tags r:id="rId1"/>
            </p:custDataLst>
            <p:extLst>
              <p:ext uri="{D42A27DB-BD31-4B8C-83A1-F6EECF244321}">
                <p14:modId xmlns:p14="http://schemas.microsoft.com/office/powerpoint/2010/main" val="5160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3C4A377-AF00-475C-BBCA-2D62E63D9C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20-06-2024</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5C503-7C78-46DF-824F-5975E435B442}"/>
              </a:ext>
            </a:extLst>
          </p:cNvPr>
          <p:cNvGraphicFramePr>
            <a:graphicFrameLocks noChangeAspect="1"/>
          </p:cNvGraphicFramePr>
          <p:nvPr userDrawn="1">
            <p:custDataLst>
              <p:tags r:id="rId1"/>
            </p:custDataLst>
            <p:extLst>
              <p:ext uri="{D42A27DB-BD31-4B8C-83A1-F6EECF244321}">
                <p14:modId xmlns:p14="http://schemas.microsoft.com/office/powerpoint/2010/main" val="704113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A15C503-7C78-46DF-824F-5975E435B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20-06-2024</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E480AF-7764-47E3-A9F5-384AC9908E98}"/>
              </a:ext>
            </a:extLst>
          </p:cNvPr>
          <p:cNvGraphicFramePr>
            <a:graphicFrameLocks noChangeAspect="1"/>
          </p:cNvGraphicFramePr>
          <p:nvPr userDrawn="1">
            <p:custDataLst>
              <p:tags r:id="rId1"/>
            </p:custDataLst>
            <p:extLst>
              <p:ext uri="{D42A27DB-BD31-4B8C-83A1-F6EECF244321}">
                <p14:modId xmlns:p14="http://schemas.microsoft.com/office/powerpoint/2010/main" val="238952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4E480AF-7764-47E3-A9F5-384AC9908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20-06-2024</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6F77EE-4F2E-4D86-86A3-96B21BDC1F10}"/>
              </a:ext>
            </a:extLst>
          </p:cNvPr>
          <p:cNvGraphicFramePr>
            <a:graphicFrameLocks noChangeAspect="1"/>
          </p:cNvGraphicFramePr>
          <p:nvPr userDrawn="1">
            <p:custDataLst>
              <p:tags r:id="rId1"/>
            </p:custDataLst>
            <p:extLst>
              <p:ext uri="{D42A27DB-BD31-4B8C-83A1-F6EECF244321}">
                <p14:modId xmlns:p14="http://schemas.microsoft.com/office/powerpoint/2010/main" val="151438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B6F77EE-4F2E-4D86-86A3-96B21BDC1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20-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0DB989-1269-4FDF-9A6E-D44A24AEC686}"/>
              </a:ext>
            </a:extLst>
          </p:cNvPr>
          <p:cNvGraphicFramePr>
            <a:graphicFrameLocks noChangeAspect="1"/>
          </p:cNvGraphicFramePr>
          <p:nvPr userDrawn="1">
            <p:custDataLst>
              <p:tags r:id="rId1"/>
            </p:custDataLst>
            <p:extLst>
              <p:ext uri="{D42A27DB-BD31-4B8C-83A1-F6EECF244321}">
                <p14:modId xmlns:p14="http://schemas.microsoft.com/office/powerpoint/2010/main" val="35232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C90DB989-1269-4FDF-9A6E-D44A24AEC6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20-06-2024</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DC2A11-1DD0-425F-A52D-2082C12E4E36}"/>
              </a:ext>
            </a:extLst>
          </p:cNvPr>
          <p:cNvGraphicFramePr>
            <a:graphicFrameLocks noChangeAspect="1"/>
          </p:cNvGraphicFramePr>
          <p:nvPr userDrawn="1">
            <p:custDataLst>
              <p:tags r:id="rId1"/>
            </p:custDataLst>
            <p:extLst>
              <p:ext uri="{D42A27DB-BD31-4B8C-83A1-F6EECF244321}">
                <p14:modId xmlns:p14="http://schemas.microsoft.com/office/powerpoint/2010/main" val="276551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36DC2A11-1DD0-425F-A52D-2082C12E4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20216F-6E12-4240-AB6D-EF417D72D626}"/>
              </a:ext>
            </a:extLst>
          </p:cNvPr>
          <p:cNvGraphicFramePr>
            <a:graphicFrameLocks noChangeAspect="1"/>
          </p:cNvGraphicFramePr>
          <p:nvPr userDrawn="1">
            <p:custDataLst>
              <p:tags r:id="rId1"/>
            </p:custDataLst>
            <p:extLst>
              <p:ext uri="{D42A27DB-BD31-4B8C-83A1-F6EECF244321}">
                <p14:modId xmlns:p14="http://schemas.microsoft.com/office/powerpoint/2010/main" val="41226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920216F-6E12-4240-AB6D-EF417D72D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20-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AD7A57-5211-48E9-B1E5-AC3DD8BD021E}"/>
              </a:ext>
            </a:extLst>
          </p:cNvPr>
          <p:cNvGraphicFramePr>
            <a:graphicFrameLocks noChangeAspect="1"/>
          </p:cNvGraphicFramePr>
          <p:nvPr userDrawn="1">
            <p:custDataLst>
              <p:tags r:id="rId1"/>
            </p:custDataLst>
            <p:extLst>
              <p:ext uri="{D42A27DB-BD31-4B8C-83A1-F6EECF244321}">
                <p14:modId xmlns:p14="http://schemas.microsoft.com/office/powerpoint/2010/main" val="4315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6AD7A57-5211-48E9-B1E5-AC3DD8BD02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20-06-2024</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3D240F-1179-41E3-ACCD-37AD84011860}"/>
              </a:ext>
            </a:extLst>
          </p:cNvPr>
          <p:cNvGraphicFramePr>
            <a:graphicFrameLocks noChangeAspect="1"/>
          </p:cNvGraphicFramePr>
          <p:nvPr userDrawn="1">
            <p:custDataLst>
              <p:tags r:id="rId1"/>
            </p:custDataLst>
            <p:extLst>
              <p:ext uri="{D42A27DB-BD31-4B8C-83A1-F6EECF244321}">
                <p14:modId xmlns:p14="http://schemas.microsoft.com/office/powerpoint/2010/main" val="2069276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E3D240F-1179-41E3-ACCD-37AD84011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20-06-2024</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Pr>
        <a:solidFill>
          <a:srgbClr val="E6E6E6"/>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5F233A-FD3C-49FA-BDA6-A9CA4569FFF7}"/>
              </a:ext>
            </a:extLst>
          </p:cNvPr>
          <p:cNvGraphicFramePr>
            <a:graphicFrameLocks noChangeAspect="1"/>
          </p:cNvGraphicFramePr>
          <p:nvPr userDrawn="1">
            <p:custDataLst>
              <p:tags r:id="rId1"/>
            </p:custDataLst>
            <p:extLst>
              <p:ext uri="{D42A27DB-BD31-4B8C-83A1-F6EECF244321}">
                <p14:modId xmlns:p14="http://schemas.microsoft.com/office/powerpoint/2010/main" val="417618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C5F233A-FD3C-49FA-BDA6-A9CA4569F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4293249" y="4187860"/>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20-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grpSp>
        <p:nvGrpSpPr>
          <p:cNvPr id="9" name="Google Shape;112;p3">
            <a:extLst>
              <a:ext uri="{FF2B5EF4-FFF2-40B4-BE49-F238E27FC236}">
                <a16:creationId xmlns:a16="http://schemas.microsoft.com/office/drawing/2014/main" id="{07CC82E2-09C1-4622-A41A-D1941B226DC3}"/>
              </a:ext>
            </a:extLst>
          </p:cNvPr>
          <p:cNvGrpSpPr/>
          <p:nvPr userDrawn="1"/>
        </p:nvGrpSpPr>
        <p:grpSpPr>
          <a:xfrm>
            <a:off x="-31721" y="-76368"/>
            <a:ext cx="12255441" cy="7160172"/>
            <a:chOff x="-83913" y="-168653"/>
            <a:chExt cx="9288757" cy="5426904"/>
          </a:xfrm>
        </p:grpSpPr>
        <p:sp>
          <p:nvSpPr>
            <p:cNvPr id="10" name="Google Shape;113;p3">
              <a:extLst>
                <a:ext uri="{FF2B5EF4-FFF2-40B4-BE49-F238E27FC236}">
                  <a16:creationId xmlns:a16="http://schemas.microsoft.com/office/drawing/2014/main" id="{92B86184-6952-451E-8923-D1FFF61F273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2" name="Google Shape;114;p3">
              <a:extLst>
                <a:ext uri="{FF2B5EF4-FFF2-40B4-BE49-F238E27FC236}">
                  <a16:creationId xmlns:a16="http://schemas.microsoft.com/office/drawing/2014/main" id="{C71AF609-7BB7-450F-A8AB-E493826AA9E9}"/>
                </a:ext>
              </a:extLst>
            </p:cNvPr>
            <p:cNvSpPr/>
            <p:nvPr/>
          </p:nvSpPr>
          <p:spPr>
            <a:xfrm>
              <a:off x="-73851" y="4335362"/>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3" name="Google Shape;115;p3">
              <a:extLst>
                <a:ext uri="{FF2B5EF4-FFF2-40B4-BE49-F238E27FC236}">
                  <a16:creationId xmlns:a16="http://schemas.microsoft.com/office/drawing/2014/main" id="{AED2F901-8026-448D-A349-9CA72B883ABC}"/>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4" name="Google Shape;116;p3">
              <a:extLst>
                <a:ext uri="{FF2B5EF4-FFF2-40B4-BE49-F238E27FC236}">
                  <a16:creationId xmlns:a16="http://schemas.microsoft.com/office/drawing/2014/main" id="{13A0FF20-A9BC-4DAA-BC16-E4C747D6646E}"/>
                </a:ext>
              </a:extLst>
            </p:cNvPr>
            <p:cNvSpPr/>
            <p:nvPr/>
          </p:nvSpPr>
          <p:spPr>
            <a:xfrm rot="-1974315">
              <a:off x="1151275" y="3720972"/>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5" name="Google Shape;117;p3">
              <a:extLst>
                <a:ext uri="{FF2B5EF4-FFF2-40B4-BE49-F238E27FC236}">
                  <a16:creationId xmlns:a16="http://schemas.microsoft.com/office/drawing/2014/main" id="{62047D3D-2B35-4A87-9CEF-A9996A3BA36D}"/>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6" name="Google Shape;118;p3">
              <a:extLst>
                <a:ext uri="{FF2B5EF4-FFF2-40B4-BE49-F238E27FC236}">
                  <a16:creationId xmlns:a16="http://schemas.microsoft.com/office/drawing/2014/main" id="{36BACEDB-3231-4638-A682-B189FBE3FC4A}"/>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7" name="Google Shape;119;p3">
              <a:extLst>
                <a:ext uri="{FF2B5EF4-FFF2-40B4-BE49-F238E27FC236}">
                  <a16:creationId xmlns:a16="http://schemas.microsoft.com/office/drawing/2014/main" id="{80CF381C-9814-44B2-9E55-B8EC0B0AB8C4}"/>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8" name="Google Shape;120;p3">
              <a:extLst>
                <a:ext uri="{FF2B5EF4-FFF2-40B4-BE49-F238E27FC236}">
                  <a16:creationId xmlns:a16="http://schemas.microsoft.com/office/drawing/2014/main" id="{DFDF226F-A40F-4BAA-9FAA-D845B566B9F8}"/>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9" name="Google Shape;121;p3">
              <a:extLst>
                <a:ext uri="{FF2B5EF4-FFF2-40B4-BE49-F238E27FC236}">
                  <a16:creationId xmlns:a16="http://schemas.microsoft.com/office/drawing/2014/main" id="{65745712-0C3F-45EC-9C30-CA73E2C17891}"/>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0" name="Google Shape;122;p3">
              <a:extLst>
                <a:ext uri="{FF2B5EF4-FFF2-40B4-BE49-F238E27FC236}">
                  <a16:creationId xmlns:a16="http://schemas.microsoft.com/office/drawing/2014/main" id="{7B829C39-2590-47E2-8710-BABEF413F2C4}"/>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123;p3">
              <a:extLst>
                <a:ext uri="{FF2B5EF4-FFF2-40B4-BE49-F238E27FC236}">
                  <a16:creationId xmlns:a16="http://schemas.microsoft.com/office/drawing/2014/main" id="{E2175861-EC9F-4D11-A9B9-5ED7178A5D26}"/>
                </a:ext>
              </a:extLst>
            </p:cNvPr>
            <p:cNvSpPr/>
            <p:nvPr/>
          </p:nvSpPr>
          <p:spPr>
            <a:xfrm rot="9911830">
              <a:off x="5498424" y="4613124"/>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124;p3">
              <a:extLst>
                <a:ext uri="{FF2B5EF4-FFF2-40B4-BE49-F238E27FC236}">
                  <a16:creationId xmlns:a16="http://schemas.microsoft.com/office/drawing/2014/main" id="{1A3525D8-70CE-4CE1-B00C-FC50C9741911}"/>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125;p3">
              <a:extLst>
                <a:ext uri="{FF2B5EF4-FFF2-40B4-BE49-F238E27FC236}">
                  <a16:creationId xmlns:a16="http://schemas.microsoft.com/office/drawing/2014/main" id="{C350A2E7-53C0-405C-9A2C-01C66AD3068C}"/>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126;p3">
              <a:extLst>
                <a:ext uri="{FF2B5EF4-FFF2-40B4-BE49-F238E27FC236}">
                  <a16:creationId xmlns:a16="http://schemas.microsoft.com/office/drawing/2014/main" id="{D93D1F43-D738-46E7-8390-A696F6D1FDAD}"/>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127;p3">
              <a:extLst>
                <a:ext uri="{FF2B5EF4-FFF2-40B4-BE49-F238E27FC236}">
                  <a16:creationId xmlns:a16="http://schemas.microsoft.com/office/drawing/2014/main" id="{7B352C66-7B72-4D46-8287-9BD85434F192}"/>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6" name="Google Shape;128;p3">
              <a:extLst>
                <a:ext uri="{FF2B5EF4-FFF2-40B4-BE49-F238E27FC236}">
                  <a16:creationId xmlns:a16="http://schemas.microsoft.com/office/drawing/2014/main" id="{DD11AFDF-9ADA-413F-88BB-D1A61CA48A22}"/>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7" name="Google Shape;129;p3">
              <a:extLst>
                <a:ext uri="{FF2B5EF4-FFF2-40B4-BE49-F238E27FC236}">
                  <a16:creationId xmlns:a16="http://schemas.microsoft.com/office/drawing/2014/main" id="{95430F5E-BF6A-479A-B0E5-4881661F4642}"/>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8" name="Google Shape;130;p3">
              <a:extLst>
                <a:ext uri="{FF2B5EF4-FFF2-40B4-BE49-F238E27FC236}">
                  <a16:creationId xmlns:a16="http://schemas.microsoft.com/office/drawing/2014/main" id="{C58D23D2-086A-4899-96CA-FAF579AEAA82}"/>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131;p3">
              <a:extLst>
                <a:ext uri="{FF2B5EF4-FFF2-40B4-BE49-F238E27FC236}">
                  <a16:creationId xmlns:a16="http://schemas.microsoft.com/office/drawing/2014/main" id="{322C0835-F152-41BD-9EE2-77C35F50ADB1}"/>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132;p3">
              <a:extLst>
                <a:ext uri="{FF2B5EF4-FFF2-40B4-BE49-F238E27FC236}">
                  <a16:creationId xmlns:a16="http://schemas.microsoft.com/office/drawing/2014/main" id="{9A8D009F-7E08-4CCE-A86A-BA4170D78ECD}"/>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1" name="Google Shape;133;p3">
              <a:extLst>
                <a:ext uri="{FF2B5EF4-FFF2-40B4-BE49-F238E27FC236}">
                  <a16:creationId xmlns:a16="http://schemas.microsoft.com/office/drawing/2014/main" id="{B26D16EB-CAF3-40C1-B403-368196AE17A5}"/>
                </a:ext>
              </a:extLst>
            </p:cNvPr>
            <p:cNvGrpSpPr/>
            <p:nvPr/>
          </p:nvGrpSpPr>
          <p:grpSpPr>
            <a:xfrm rot="891035">
              <a:off x="1165229" y="1691730"/>
              <a:ext cx="657771" cy="386113"/>
              <a:chOff x="1429156" y="1387535"/>
              <a:chExt cx="657769" cy="386112"/>
            </a:xfrm>
          </p:grpSpPr>
          <p:sp>
            <p:nvSpPr>
              <p:cNvPr id="71" name="Google Shape;134;p3">
                <a:extLst>
                  <a:ext uri="{FF2B5EF4-FFF2-40B4-BE49-F238E27FC236}">
                    <a16:creationId xmlns:a16="http://schemas.microsoft.com/office/drawing/2014/main" id="{75ACE2E8-E896-4D2F-AA37-81A8AEFC81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2" name="Google Shape;135;p3">
                <a:extLst>
                  <a:ext uri="{FF2B5EF4-FFF2-40B4-BE49-F238E27FC236}">
                    <a16:creationId xmlns:a16="http://schemas.microsoft.com/office/drawing/2014/main" id="{7206F198-9F89-4266-9D50-C07019C2CD7E}"/>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2" name="Google Shape;136;p3">
              <a:extLst>
                <a:ext uri="{FF2B5EF4-FFF2-40B4-BE49-F238E27FC236}">
                  <a16:creationId xmlns:a16="http://schemas.microsoft.com/office/drawing/2014/main" id="{375853E5-8D2D-4BFD-A344-777696706008}"/>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137;p3">
              <a:extLst>
                <a:ext uri="{FF2B5EF4-FFF2-40B4-BE49-F238E27FC236}">
                  <a16:creationId xmlns:a16="http://schemas.microsoft.com/office/drawing/2014/main" id="{6421FDF3-8380-4586-B83E-2921B2CFAF8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4" name="Google Shape;138;p3">
              <a:extLst>
                <a:ext uri="{FF2B5EF4-FFF2-40B4-BE49-F238E27FC236}">
                  <a16:creationId xmlns:a16="http://schemas.microsoft.com/office/drawing/2014/main" id="{5D66BD58-4BE5-4935-BF2C-EDC1609FD8BD}"/>
                </a:ext>
              </a:extLst>
            </p:cNvPr>
            <p:cNvGrpSpPr/>
            <p:nvPr/>
          </p:nvGrpSpPr>
          <p:grpSpPr>
            <a:xfrm>
              <a:off x="346827" y="3411153"/>
              <a:ext cx="376916" cy="455685"/>
              <a:chOff x="1010452" y="1144365"/>
              <a:chExt cx="376916" cy="455685"/>
            </a:xfrm>
          </p:grpSpPr>
          <p:sp>
            <p:nvSpPr>
              <p:cNvPr id="69" name="Google Shape;139;p3">
                <a:extLst>
                  <a:ext uri="{FF2B5EF4-FFF2-40B4-BE49-F238E27FC236}">
                    <a16:creationId xmlns:a16="http://schemas.microsoft.com/office/drawing/2014/main" id="{8C9BC79A-1AA0-4E0B-A67B-8A9CA8102C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40;p3">
                <a:extLst>
                  <a:ext uri="{FF2B5EF4-FFF2-40B4-BE49-F238E27FC236}">
                    <a16:creationId xmlns:a16="http://schemas.microsoft.com/office/drawing/2014/main" id="{75BFC764-F28D-40CD-A337-0DCD40399465}"/>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5" name="Google Shape;141;p3">
              <a:extLst>
                <a:ext uri="{FF2B5EF4-FFF2-40B4-BE49-F238E27FC236}">
                  <a16:creationId xmlns:a16="http://schemas.microsoft.com/office/drawing/2014/main" id="{B47530CC-894E-4F4E-A9E1-811A9F54E060}"/>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6" name="Google Shape;142;p3">
              <a:extLst>
                <a:ext uri="{FF2B5EF4-FFF2-40B4-BE49-F238E27FC236}">
                  <a16:creationId xmlns:a16="http://schemas.microsoft.com/office/drawing/2014/main" id="{BFFDEA78-7890-4D70-AE9F-F38D5F43582C}"/>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7" name="Google Shape;143;p3">
              <a:extLst>
                <a:ext uri="{FF2B5EF4-FFF2-40B4-BE49-F238E27FC236}">
                  <a16:creationId xmlns:a16="http://schemas.microsoft.com/office/drawing/2014/main" id="{594D8DC3-1DC1-4C04-8D8B-12D29A61F2A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144;p3">
              <a:extLst>
                <a:ext uri="{FF2B5EF4-FFF2-40B4-BE49-F238E27FC236}">
                  <a16:creationId xmlns:a16="http://schemas.microsoft.com/office/drawing/2014/main" id="{81F1ED35-B550-4F73-8A0D-BB1EA8636792}"/>
                </a:ext>
              </a:extLst>
            </p:cNvPr>
            <p:cNvSpPr/>
            <p:nvPr/>
          </p:nvSpPr>
          <p:spPr>
            <a:xfrm>
              <a:off x="7413193" y="740389"/>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9" name="Google Shape;145;p3">
              <a:extLst>
                <a:ext uri="{FF2B5EF4-FFF2-40B4-BE49-F238E27FC236}">
                  <a16:creationId xmlns:a16="http://schemas.microsoft.com/office/drawing/2014/main" id="{FCA7A200-8695-4433-80AB-6AD5C9BC8FB1}"/>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0" name="Google Shape;146;p3">
              <a:extLst>
                <a:ext uri="{FF2B5EF4-FFF2-40B4-BE49-F238E27FC236}">
                  <a16:creationId xmlns:a16="http://schemas.microsoft.com/office/drawing/2014/main" id="{C35532D8-0C59-45DE-AEA2-EDF349D00105}"/>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1" name="Google Shape;147;p3">
              <a:extLst>
                <a:ext uri="{FF2B5EF4-FFF2-40B4-BE49-F238E27FC236}">
                  <a16:creationId xmlns:a16="http://schemas.microsoft.com/office/drawing/2014/main" id="{85AAC109-4491-463F-B14F-6FEBB7D58F80}"/>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148;p3">
              <a:extLst>
                <a:ext uri="{FF2B5EF4-FFF2-40B4-BE49-F238E27FC236}">
                  <a16:creationId xmlns:a16="http://schemas.microsoft.com/office/drawing/2014/main" id="{E58DA6A9-C278-4BB1-B2CB-D5E0026C1509}"/>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3" name="Google Shape;149;p3">
              <a:extLst>
                <a:ext uri="{FF2B5EF4-FFF2-40B4-BE49-F238E27FC236}">
                  <a16:creationId xmlns:a16="http://schemas.microsoft.com/office/drawing/2014/main" id="{789450D2-6F31-4A2B-B6F9-41770B7F2109}"/>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4" name="Google Shape;150;p3">
              <a:extLst>
                <a:ext uri="{FF2B5EF4-FFF2-40B4-BE49-F238E27FC236}">
                  <a16:creationId xmlns:a16="http://schemas.microsoft.com/office/drawing/2014/main" id="{5573F5F2-17BD-48C0-9F23-F83B1A5A8105}"/>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151;p3">
              <a:extLst>
                <a:ext uri="{FF2B5EF4-FFF2-40B4-BE49-F238E27FC236}">
                  <a16:creationId xmlns:a16="http://schemas.microsoft.com/office/drawing/2014/main" id="{1669DDF8-3A03-4864-9401-6964B3660B6E}"/>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6" name="Google Shape;152;p3">
              <a:extLst>
                <a:ext uri="{FF2B5EF4-FFF2-40B4-BE49-F238E27FC236}">
                  <a16:creationId xmlns:a16="http://schemas.microsoft.com/office/drawing/2014/main" id="{FD5CC3CC-71F7-4EA4-9714-7E4B1A822154}"/>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7" name="Google Shape;153;p3">
              <a:extLst>
                <a:ext uri="{FF2B5EF4-FFF2-40B4-BE49-F238E27FC236}">
                  <a16:creationId xmlns:a16="http://schemas.microsoft.com/office/drawing/2014/main" id="{66AD0467-5823-4999-AD6B-89A8E5203963}"/>
                </a:ext>
              </a:extLst>
            </p:cNvPr>
            <p:cNvSpPr/>
            <p:nvPr/>
          </p:nvSpPr>
          <p:spPr>
            <a:xfrm>
              <a:off x="8514477" y="3303552"/>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8" name="Google Shape;154;p3">
              <a:extLst>
                <a:ext uri="{FF2B5EF4-FFF2-40B4-BE49-F238E27FC236}">
                  <a16:creationId xmlns:a16="http://schemas.microsoft.com/office/drawing/2014/main" id="{273E409A-ECD6-470B-8EF7-98B6344C2682}"/>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155;p3">
              <a:extLst>
                <a:ext uri="{FF2B5EF4-FFF2-40B4-BE49-F238E27FC236}">
                  <a16:creationId xmlns:a16="http://schemas.microsoft.com/office/drawing/2014/main" id="{E9F45DAE-D07F-4A54-A8CA-371949E134EF}"/>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156;p3">
              <a:extLst>
                <a:ext uri="{FF2B5EF4-FFF2-40B4-BE49-F238E27FC236}">
                  <a16:creationId xmlns:a16="http://schemas.microsoft.com/office/drawing/2014/main" id="{658AC260-88AF-48F4-A331-C8C9FB4AF599}"/>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157;p3">
              <a:extLst>
                <a:ext uri="{FF2B5EF4-FFF2-40B4-BE49-F238E27FC236}">
                  <a16:creationId xmlns:a16="http://schemas.microsoft.com/office/drawing/2014/main" id="{FD01B15F-3134-4B86-81F7-196D34FD1337}"/>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2" name="Google Shape;158;p3">
              <a:extLst>
                <a:ext uri="{FF2B5EF4-FFF2-40B4-BE49-F238E27FC236}">
                  <a16:creationId xmlns:a16="http://schemas.microsoft.com/office/drawing/2014/main" id="{ECE62D4D-DAD1-4BD5-95D7-E4F2C4AB4E20}"/>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3" name="Google Shape;159;p3">
              <a:extLst>
                <a:ext uri="{FF2B5EF4-FFF2-40B4-BE49-F238E27FC236}">
                  <a16:creationId xmlns:a16="http://schemas.microsoft.com/office/drawing/2014/main" id="{E1411E4E-DD68-441C-BA24-04EC531F7CB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4" name="Google Shape;160;p3">
              <a:extLst>
                <a:ext uri="{FF2B5EF4-FFF2-40B4-BE49-F238E27FC236}">
                  <a16:creationId xmlns:a16="http://schemas.microsoft.com/office/drawing/2014/main" id="{4FAAA02B-145E-42EF-9989-D3B3298B2D2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161;p3">
              <a:extLst>
                <a:ext uri="{FF2B5EF4-FFF2-40B4-BE49-F238E27FC236}">
                  <a16:creationId xmlns:a16="http://schemas.microsoft.com/office/drawing/2014/main" id="{A1BC7C48-F5BC-429D-A0C2-2F698A1C754A}"/>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6" name="Google Shape;162;p3">
              <a:extLst>
                <a:ext uri="{FF2B5EF4-FFF2-40B4-BE49-F238E27FC236}">
                  <a16:creationId xmlns:a16="http://schemas.microsoft.com/office/drawing/2014/main" id="{061BBCF4-A94F-464F-9254-80F333F37689}"/>
                </a:ext>
              </a:extLst>
            </p:cNvPr>
            <p:cNvGrpSpPr/>
            <p:nvPr/>
          </p:nvGrpSpPr>
          <p:grpSpPr>
            <a:xfrm>
              <a:off x="6457245" y="4530131"/>
              <a:ext cx="216066" cy="276377"/>
              <a:chOff x="6422295" y="3351500"/>
              <a:chExt cx="252856" cy="323399"/>
            </a:xfrm>
          </p:grpSpPr>
          <p:sp>
            <p:nvSpPr>
              <p:cNvPr id="67" name="Google Shape;163;p3">
                <a:extLst>
                  <a:ext uri="{FF2B5EF4-FFF2-40B4-BE49-F238E27FC236}">
                    <a16:creationId xmlns:a16="http://schemas.microsoft.com/office/drawing/2014/main" id="{A5D8B871-971A-497E-88EA-BD3C7E11BB9B}"/>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64;p3">
                <a:extLst>
                  <a:ext uri="{FF2B5EF4-FFF2-40B4-BE49-F238E27FC236}">
                    <a16:creationId xmlns:a16="http://schemas.microsoft.com/office/drawing/2014/main" id="{EF015BEC-6C1B-40AC-A84D-118AD8944F9F}"/>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7" name="Google Shape;165;p3">
              <a:extLst>
                <a:ext uri="{FF2B5EF4-FFF2-40B4-BE49-F238E27FC236}">
                  <a16:creationId xmlns:a16="http://schemas.microsoft.com/office/drawing/2014/main" id="{A74C9D07-C230-4862-BDAB-5DE3DD971641}"/>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166;p3">
              <a:extLst>
                <a:ext uri="{FF2B5EF4-FFF2-40B4-BE49-F238E27FC236}">
                  <a16:creationId xmlns:a16="http://schemas.microsoft.com/office/drawing/2014/main" id="{CFF947DF-86EC-4D06-8402-0D28FAA07E2E}"/>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9" name="Google Shape;167;p3">
              <a:extLst>
                <a:ext uri="{FF2B5EF4-FFF2-40B4-BE49-F238E27FC236}">
                  <a16:creationId xmlns:a16="http://schemas.microsoft.com/office/drawing/2014/main" id="{296C5B09-63AC-4349-A8AD-5FC47298B7BF}"/>
                </a:ext>
              </a:extLst>
            </p:cNvPr>
            <p:cNvGrpSpPr/>
            <p:nvPr/>
          </p:nvGrpSpPr>
          <p:grpSpPr>
            <a:xfrm>
              <a:off x="1184427" y="4630083"/>
              <a:ext cx="229693" cy="293080"/>
              <a:chOff x="6793660" y="3322411"/>
              <a:chExt cx="268804" cy="342944"/>
            </a:xfrm>
          </p:grpSpPr>
          <p:sp>
            <p:nvSpPr>
              <p:cNvPr id="64" name="Google Shape;168;p3">
                <a:extLst>
                  <a:ext uri="{FF2B5EF4-FFF2-40B4-BE49-F238E27FC236}">
                    <a16:creationId xmlns:a16="http://schemas.microsoft.com/office/drawing/2014/main" id="{D43D496B-4A9F-4C55-9824-8149A5C3513C}"/>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5" name="Google Shape;169;p3">
                <a:extLst>
                  <a:ext uri="{FF2B5EF4-FFF2-40B4-BE49-F238E27FC236}">
                    <a16:creationId xmlns:a16="http://schemas.microsoft.com/office/drawing/2014/main" id="{66796A3A-7456-4310-BB79-D5EFA11CDF29}"/>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70;p3">
                <a:extLst>
                  <a:ext uri="{FF2B5EF4-FFF2-40B4-BE49-F238E27FC236}">
                    <a16:creationId xmlns:a16="http://schemas.microsoft.com/office/drawing/2014/main" id="{5AE20EA3-139D-4E96-87EA-6ABD338A141A}"/>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0" name="Google Shape;171;p3">
              <a:extLst>
                <a:ext uri="{FF2B5EF4-FFF2-40B4-BE49-F238E27FC236}">
                  <a16:creationId xmlns:a16="http://schemas.microsoft.com/office/drawing/2014/main" id="{64EE9073-F1CC-4483-89C9-142F060D1563}"/>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1" name="Google Shape;172;p3">
              <a:extLst>
                <a:ext uri="{FF2B5EF4-FFF2-40B4-BE49-F238E27FC236}">
                  <a16:creationId xmlns:a16="http://schemas.microsoft.com/office/drawing/2014/main" id="{CB7DB896-33B3-41DC-BB01-F2D7CB78EADD}"/>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2" name="Google Shape;173;p3">
              <a:extLst>
                <a:ext uri="{FF2B5EF4-FFF2-40B4-BE49-F238E27FC236}">
                  <a16:creationId xmlns:a16="http://schemas.microsoft.com/office/drawing/2014/main" id="{F428F3A0-7407-4A41-8EC0-E729B29E0AB0}"/>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3" name="Google Shape;174;p3">
              <a:extLst>
                <a:ext uri="{FF2B5EF4-FFF2-40B4-BE49-F238E27FC236}">
                  <a16:creationId xmlns:a16="http://schemas.microsoft.com/office/drawing/2014/main" id="{4F767371-F835-49CF-A9BA-C3C144C2E73A}"/>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reaker (B)">
    <p:bg>
      <p:bgPr>
        <a:solidFill>
          <a:srgbClr val="E6E6E6"/>
        </a:solidFill>
        <a:effectLst/>
      </p:bgPr>
    </p:bg>
    <p:spTree>
      <p:nvGrpSpPr>
        <p:cNvPr id="1" name=""/>
        <p:cNvGrpSpPr/>
        <p:nvPr/>
      </p:nvGrpSpPr>
      <p:grpSpPr>
        <a:xfrm>
          <a:off x="0" y="0"/>
          <a:ext cx="0" cy="0"/>
          <a:chOff x="0" y="0"/>
          <a:chExt cx="0" cy="0"/>
        </a:xfrm>
      </p:grpSpPr>
      <p:graphicFrame>
        <p:nvGraphicFramePr>
          <p:cNvPr id="74" name="Object 73" hidden="1">
            <a:extLst>
              <a:ext uri="{FF2B5EF4-FFF2-40B4-BE49-F238E27FC236}">
                <a16:creationId xmlns:a16="http://schemas.microsoft.com/office/drawing/2014/main" id="{84782DE8-9767-4702-8C7F-EAE3A0FA6E3B}"/>
              </a:ext>
            </a:extLst>
          </p:cNvPr>
          <p:cNvGraphicFramePr>
            <a:graphicFrameLocks noChangeAspect="1"/>
          </p:cNvGraphicFramePr>
          <p:nvPr userDrawn="1">
            <p:custDataLst>
              <p:tags r:id="rId1"/>
            </p:custDataLst>
            <p:extLst>
              <p:ext uri="{D42A27DB-BD31-4B8C-83A1-F6EECF244321}">
                <p14:modId xmlns:p14="http://schemas.microsoft.com/office/powerpoint/2010/main" val="405460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4" name="Object 73" hidden="1">
                        <a:extLst>
                          <a:ext uri="{FF2B5EF4-FFF2-40B4-BE49-F238E27FC236}">
                            <a16:creationId xmlns:a16="http://schemas.microsoft.com/office/drawing/2014/main" id="{84782DE8-9767-4702-8C7F-EAE3A0FA6E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4DA3B0F-03CD-4108-8860-23727812948A}"/>
              </a:ext>
            </a:extLst>
          </p:cNvPr>
          <p:cNvPicPr>
            <a:picLocks noChangeAspect="1"/>
          </p:cNvPicPr>
          <p:nvPr userDrawn="1"/>
        </p:nvPicPr>
        <p:blipFill>
          <a:blip r:embed="rId5"/>
          <a:stretch>
            <a:fillRect/>
          </a:stretch>
        </p:blipFill>
        <p:spPr>
          <a:xfrm>
            <a:off x="-154675" y="-77484"/>
            <a:ext cx="12501349" cy="7162403"/>
          </a:xfrm>
          <a:prstGeom prst="rect">
            <a:avLst/>
          </a:prstGeom>
        </p:spPr>
      </p:pic>
      <p:sp>
        <p:nvSpPr>
          <p:cNvPr id="2" name="Title 1"/>
          <p:cNvSpPr>
            <a:spLocks noGrp="1"/>
          </p:cNvSpPr>
          <p:nvPr>
            <p:ph type="ctrTitle" hasCustomPrompt="1"/>
          </p:nvPr>
        </p:nvSpPr>
        <p:spPr bwMode="white">
          <a:xfrm>
            <a:off x="1609725" y="1122363"/>
            <a:ext cx="9010650" cy="1984631"/>
          </a:xfrm>
        </p:spPr>
        <p:txBody>
          <a:bodyPr vert="horz" anchor="ctr"/>
          <a:lstStyle>
            <a:lvl1pPr algn="ctr" rtl="0">
              <a:defRPr sz="6000">
                <a:solidFill>
                  <a:schemeClr val="tx1"/>
                </a:solidFill>
              </a:defRPr>
            </a:lvl1pPr>
          </a:lstStyle>
          <a:p>
            <a:r>
              <a:rPr lang="da-DK" noProof="0"/>
              <a:t>Click to add </a:t>
            </a:r>
            <a:r>
              <a:rPr lang="da-DK"/>
              <a:t>Breaker text</a:t>
            </a:r>
          </a:p>
        </p:txBody>
      </p:sp>
      <p:sp>
        <p:nvSpPr>
          <p:cNvPr id="75" name="Rectangle 74">
            <a:extLst>
              <a:ext uri="{FF2B5EF4-FFF2-40B4-BE49-F238E27FC236}">
                <a16:creationId xmlns:a16="http://schemas.microsoft.com/office/drawing/2014/main" id="{D3B8EA68-780D-408D-A1B0-D4E553F60DC6}"/>
              </a:ext>
            </a:extLst>
          </p:cNvPr>
          <p:cNvSpPr/>
          <p:nvPr userDrawn="1"/>
        </p:nvSpPr>
        <p:spPr>
          <a:xfrm>
            <a:off x="5991225" y="6496050"/>
            <a:ext cx="295275" cy="21907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74CC8F9-A212-4669-B5A2-90527C0FB5EF}"/>
              </a:ext>
            </a:extLst>
          </p:cNvPr>
          <p:cNvGraphicFramePr>
            <a:graphicFrameLocks noChangeAspect="1"/>
          </p:cNvGraphicFramePr>
          <p:nvPr userDrawn="1">
            <p:custDataLst>
              <p:tags r:id="rId1"/>
            </p:custDataLst>
            <p:extLst>
              <p:ext uri="{D42A27DB-BD31-4B8C-83A1-F6EECF244321}">
                <p14:modId xmlns:p14="http://schemas.microsoft.com/office/powerpoint/2010/main" val="85525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974CC8F9-A212-4669-B5A2-90527C0FB5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20-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E0DF49-C183-4D5C-9A2E-7134386478D1}"/>
              </a:ext>
            </a:extLst>
          </p:cNvPr>
          <p:cNvGraphicFramePr>
            <a:graphicFrameLocks noChangeAspect="1"/>
          </p:cNvGraphicFramePr>
          <p:nvPr userDrawn="1">
            <p:custDataLst>
              <p:tags r:id="rId1"/>
            </p:custDataLst>
            <p:extLst>
              <p:ext uri="{D42A27DB-BD31-4B8C-83A1-F6EECF244321}">
                <p14:modId xmlns:p14="http://schemas.microsoft.com/office/powerpoint/2010/main" val="53640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3E0DF49-C183-4D5C-9A2E-7134386478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20-06-2024</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err="1"/>
              <a:t>Click</a:t>
            </a:r>
            <a:r>
              <a:rPr lang="da-DK" noProof="0"/>
              <a:t> to </a:t>
            </a:r>
            <a:r>
              <a:rPr lang="da-DK" noProof="0" err="1"/>
              <a:t>add</a:t>
            </a:r>
            <a:r>
              <a:rPr lang="da-DK" noProof="0"/>
              <a:t> </a:t>
            </a:r>
            <a:r>
              <a:rPr lang="da-DK" err="1"/>
              <a:t>Breaker</a:t>
            </a:r>
            <a:r>
              <a:rPr lang="da-DK"/>
              <a:t> </a:t>
            </a:r>
            <a:r>
              <a:rPr lang="da-DK" err="1"/>
              <a:t>text</a:t>
            </a:r>
            <a:endParaRPr lang="da-DK"/>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grpSp>
        <p:nvGrpSpPr>
          <p:cNvPr id="9" name="Google Shape;22;p2">
            <a:extLst>
              <a:ext uri="{FF2B5EF4-FFF2-40B4-BE49-F238E27FC236}">
                <a16:creationId xmlns:a16="http://schemas.microsoft.com/office/drawing/2014/main" id="{CF860034-7B08-4F3D-B762-9A31C79575E9}"/>
              </a:ext>
            </a:extLst>
          </p:cNvPr>
          <p:cNvGrpSpPr/>
          <p:nvPr userDrawn="1"/>
        </p:nvGrpSpPr>
        <p:grpSpPr>
          <a:xfrm>
            <a:off x="81519" y="-3616"/>
            <a:ext cx="12028961" cy="6832695"/>
            <a:chOff x="-85500" y="-106317"/>
            <a:chExt cx="9290343" cy="5277104"/>
          </a:xfrm>
        </p:grpSpPr>
        <p:grpSp>
          <p:nvGrpSpPr>
            <p:cNvPr id="14" name="Google Shape;23;p2">
              <a:extLst>
                <a:ext uri="{FF2B5EF4-FFF2-40B4-BE49-F238E27FC236}">
                  <a16:creationId xmlns:a16="http://schemas.microsoft.com/office/drawing/2014/main" id="{374DAF26-CC1A-4B23-B786-9BEE004A4999}"/>
                </a:ext>
              </a:extLst>
            </p:cNvPr>
            <p:cNvGrpSpPr/>
            <p:nvPr/>
          </p:nvGrpSpPr>
          <p:grpSpPr>
            <a:xfrm>
              <a:off x="3870624" y="271731"/>
              <a:ext cx="531017" cy="704779"/>
              <a:chOff x="3870624" y="271731"/>
              <a:chExt cx="531017" cy="704779"/>
            </a:xfrm>
          </p:grpSpPr>
          <p:sp>
            <p:nvSpPr>
              <p:cNvPr id="100" name="Google Shape;24;p2">
                <a:extLst>
                  <a:ext uri="{FF2B5EF4-FFF2-40B4-BE49-F238E27FC236}">
                    <a16:creationId xmlns:a16="http://schemas.microsoft.com/office/drawing/2014/main" id="{5CAA66CA-0C74-4E12-A951-E58F094E3B5A}"/>
                  </a:ext>
                </a:extLst>
              </p:cNvPr>
              <p:cNvSpPr/>
              <p:nvPr/>
            </p:nvSpPr>
            <p:spPr>
              <a:xfrm>
                <a:off x="3870624" y="311200"/>
                <a:ext cx="425807" cy="385849"/>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101" name="Google Shape;25;p2">
                <a:extLst>
                  <a:ext uri="{FF2B5EF4-FFF2-40B4-BE49-F238E27FC236}">
                    <a16:creationId xmlns:a16="http://schemas.microsoft.com/office/drawing/2014/main" id="{4F9740FA-1D78-4B0B-8ED1-34B3D395557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17" name="Google Shape;26;p2">
              <a:extLst>
                <a:ext uri="{FF2B5EF4-FFF2-40B4-BE49-F238E27FC236}">
                  <a16:creationId xmlns:a16="http://schemas.microsoft.com/office/drawing/2014/main" id="{880F6B94-3351-4359-AA78-95E4BA51ABB9}"/>
                </a:ext>
              </a:extLst>
            </p:cNvPr>
            <p:cNvGrpSpPr/>
            <p:nvPr/>
          </p:nvGrpSpPr>
          <p:grpSpPr>
            <a:xfrm>
              <a:off x="-85500" y="4299338"/>
              <a:ext cx="612915" cy="585559"/>
              <a:chOff x="8158724" y="4646275"/>
              <a:chExt cx="612915" cy="585559"/>
            </a:xfrm>
          </p:grpSpPr>
          <p:sp>
            <p:nvSpPr>
              <p:cNvPr id="98" name="Google Shape;27;p2">
                <a:extLst>
                  <a:ext uri="{FF2B5EF4-FFF2-40B4-BE49-F238E27FC236}">
                    <a16:creationId xmlns:a16="http://schemas.microsoft.com/office/drawing/2014/main" id="{079699AB-E13E-4643-A888-2FB682F50DDC}"/>
                  </a:ext>
                </a:extLst>
              </p:cNvPr>
              <p:cNvSpPr/>
              <p:nvPr/>
            </p:nvSpPr>
            <p:spPr>
              <a:xfrm>
                <a:off x="8158724" y="4646275"/>
                <a:ext cx="511423" cy="463431"/>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9" name="Google Shape;28;p2">
                <a:extLst>
                  <a:ext uri="{FF2B5EF4-FFF2-40B4-BE49-F238E27FC236}">
                    <a16:creationId xmlns:a16="http://schemas.microsoft.com/office/drawing/2014/main" id="{2E521742-9B6F-4627-8EC5-60F64ACFAF44}"/>
                  </a:ext>
                </a:extLst>
              </p:cNvPr>
              <p:cNvSpPr/>
              <p:nvPr/>
            </p:nvSpPr>
            <p:spPr>
              <a:xfrm>
                <a:off x="8170373" y="4682299"/>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18" name="Google Shape;29;p2">
              <a:extLst>
                <a:ext uri="{FF2B5EF4-FFF2-40B4-BE49-F238E27FC236}">
                  <a16:creationId xmlns:a16="http://schemas.microsoft.com/office/drawing/2014/main" id="{9560D005-42F1-4338-B0A7-019A505317B4}"/>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19" name="Google Shape;30;p2">
              <a:extLst>
                <a:ext uri="{FF2B5EF4-FFF2-40B4-BE49-F238E27FC236}">
                  <a16:creationId xmlns:a16="http://schemas.microsoft.com/office/drawing/2014/main" id="{E5CD0861-C851-415E-9618-0358C8F35B16}"/>
                </a:ext>
              </a:extLst>
            </p:cNvPr>
            <p:cNvGrpSpPr/>
            <p:nvPr/>
          </p:nvGrpSpPr>
          <p:grpSpPr>
            <a:xfrm>
              <a:off x="968652" y="3696885"/>
              <a:ext cx="565312" cy="602473"/>
              <a:chOff x="813652" y="3801560"/>
              <a:chExt cx="565312" cy="602473"/>
            </a:xfrm>
          </p:grpSpPr>
          <p:sp>
            <p:nvSpPr>
              <p:cNvPr id="96" name="Google Shape;31;p2">
                <a:extLst>
                  <a:ext uri="{FF2B5EF4-FFF2-40B4-BE49-F238E27FC236}">
                    <a16:creationId xmlns:a16="http://schemas.microsoft.com/office/drawing/2014/main" id="{0E52EBA3-E209-4845-A921-54D168D9F53B}"/>
                  </a:ext>
                </a:extLst>
              </p:cNvPr>
              <p:cNvSpPr/>
              <p:nvPr/>
            </p:nvSpPr>
            <p:spPr>
              <a:xfrm rot="6264782">
                <a:off x="849950" y="3919090"/>
                <a:ext cx="380679" cy="370162"/>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7" name="Google Shape;32;p2">
                <a:extLst>
                  <a:ext uri="{FF2B5EF4-FFF2-40B4-BE49-F238E27FC236}">
                    <a16:creationId xmlns:a16="http://schemas.microsoft.com/office/drawing/2014/main" id="{83C02F3D-0741-41F5-9477-B7E0E381D908}"/>
                  </a:ext>
                </a:extLst>
              </p:cNvPr>
              <p:cNvSpPr/>
              <p:nvPr/>
            </p:nvSpPr>
            <p:spPr>
              <a:xfrm rot="-1974315">
                <a:off x="996275" y="3825647"/>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0" name="Google Shape;33;p2">
              <a:extLst>
                <a:ext uri="{FF2B5EF4-FFF2-40B4-BE49-F238E27FC236}">
                  <a16:creationId xmlns:a16="http://schemas.microsoft.com/office/drawing/2014/main" id="{F1985F7F-0CD7-4E5B-B177-05BFF6116C13}"/>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34;p2">
              <a:extLst>
                <a:ext uri="{FF2B5EF4-FFF2-40B4-BE49-F238E27FC236}">
                  <a16:creationId xmlns:a16="http://schemas.microsoft.com/office/drawing/2014/main" id="{72897235-3719-4DD4-823D-8C397B5C0EAE}"/>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35;p2">
              <a:extLst>
                <a:ext uri="{FF2B5EF4-FFF2-40B4-BE49-F238E27FC236}">
                  <a16:creationId xmlns:a16="http://schemas.microsoft.com/office/drawing/2014/main" id="{5A3FACA7-85C1-4399-A3E0-CB15AC77FC10}"/>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36;p2">
              <a:extLst>
                <a:ext uri="{FF2B5EF4-FFF2-40B4-BE49-F238E27FC236}">
                  <a16:creationId xmlns:a16="http://schemas.microsoft.com/office/drawing/2014/main" id="{642AD79A-DD76-4AD3-81C6-4ACA9BE0101A}"/>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37;p2">
              <a:extLst>
                <a:ext uri="{FF2B5EF4-FFF2-40B4-BE49-F238E27FC236}">
                  <a16:creationId xmlns:a16="http://schemas.microsoft.com/office/drawing/2014/main" id="{81ECFDDF-9A1E-4C71-9C9D-5E09A2D9C4E2}"/>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38;p2">
              <a:extLst>
                <a:ext uri="{FF2B5EF4-FFF2-40B4-BE49-F238E27FC236}">
                  <a16:creationId xmlns:a16="http://schemas.microsoft.com/office/drawing/2014/main" id="{A307D40B-7242-44D4-B591-17FD3BF09EB6}"/>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26" name="Google Shape;39;p2">
              <a:extLst>
                <a:ext uri="{FF2B5EF4-FFF2-40B4-BE49-F238E27FC236}">
                  <a16:creationId xmlns:a16="http://schemas.microsoft.com/office/drawing/2014/main" id="{5604326C-FEC7-4B4A-B74C-3C1729D48495}"/>
                </a:ext>
              </a:extLst>
            </p:cNvPr>
            <p:cNvGrpSpPr/>
            <p:nvPr/>
          </p:nvGrpSpPr>
          <p:grpSpPr>
            <a:xfrm>
              <a:off x="5462677" y="4575203"/>
              <a:ext cx="497752" cy="491681"/>
              <a:chOff x="7559440" y="3972390"/>
              <a:chExt cx="497752" cy="491681"/>
            </a:xfrm>
          </p:grpSpPr>
          <p:sp>
            <p:nvSpPr>
              <p:cNvPr id="94" name="Google Shape;40;p2">
                <a:extLst>
                  <a:ext uri="{FF2B5EF4-FFF2-40B4-BE49-F238E27FC236}">
                    <a16:creationId xmlns:a16="http://schemas.microsoft.com/office/drawing/2014/main" id="{E60B4D83-EADD-40A5-8739-074D34190748}"/>
                  </a:ext>
                </a:extLst>
              </p:cNvPr>
              <p:cNvSpPr/>
              <p:nvPr/>
            </p:nvSpPr>
            <p:spPr>
              <a:xfrm rot="1226546">
                <a:off x="7692589" y="4106488"/>
                <a:ext cx="320298" cy="311457"/>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5" name="Google Shape;41;p2">
                <a:extLst>
                  <a:ext uri="{FF2B5EF4-FFF2-40B4-BE49-F238E27FC236}">
                    <a16:creationId xmlns:a16="http://schemas.microsoft.com/office/drawing/2014/main" id="{3FF74D61-8F2C-415F-870A-3E26DFE35B47}"/>
                  </a:ext>
                </a:extLst>
              </p:cNvPr>
              <p:cNvSpPr/>
              <p:nvPr/>
            </p:nvSpPr>
            <p:spPr>
              <a:xfrm rot="9911830">
                <a:off x="7595186" y="4010311"/>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27" name="Google Shape;42;p2">
              <a:extLst>
                <a:ext uri="{FF2B5EF4-FFF2-40B4-BE49-F238E27FC236}">
                  <a16:creationId xmlns:a16="http://schemas.microsoft.com/office/drawing/2014/main" id="{7B3E780A-FE52-4930-9014-FFEF28ABA4B9}"/>
                </a:ext>
              </a:extLst>
            </p:cNvPr>
            <p:cNvGrpSpPr/>
            <p:nvPr/>
          </p:nvGrpSpPr>
          <p:grpSpPr>
            <a:xfrm>
              <a:off x="510215" y="271717"/>
              <a:ext cx="557022" cy="619823"/>
              <a:chOff x="510215" y="271717"/>
              <a:chExt cx="557022" cy="619823"/>
            </a:xfrm>
          </p:grpSpPr>
          <p:sp>
            <p:nvSpPr>
              <p:cNvPr id="92" name="Google Shape;43;p2">
                <a:extLst>
                  <a:ext uri="{FF2B5EF4-FFF2-40B4-BE49-F238E27FC236}">
                    <a16:creationId xmlns:a16="http://schemas.microsoft.com/office/drawing/2014/main" id="{DB21A7C0-E34D-4908-8E9B-C1BA461C3D8C}"/>
                  </a:ext>
                </a:extLst>
              </p:cNvPr>
              <p:cNvSpPr/>
              <p:nvPr/>
            </p:nvSpPr>
            <p:spPr>
              <a:xfrm>
                <a:off x="676827" y="376200"/>
                <a:ext cx="316843" cy="32088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3" name="Google Shape;44;p2">
                <a:extLst>
                  <a:ext uri="{FF2B5EF4-FFF2-40B4-BE49-F238E27FC236}">
                    <a16:creationId xmlns:a16="http://schemas.microsoft.com/office/drawing/2014/main" id="{BCE5B0F7-5FDC-4B9D-8BBB-EEDEFB1C0A37}"/>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8" name="Google Shape;45;p2">
              <a:extLst>
                <a:ext uri="{FF2B5EF4-FFF2-40B4-BE49-F238E27FC236}">
                  <a16:creationId xmlns:a16="http://schemas.microsoft.com/office/drawing/2014/main" id="{88E0BC4D-444B-4D02-A994-34ED22CEAF8E}"/>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46;p2">
              <a:extLst>
                <a:ext uri="{FF2B5EF4-FFF2-40B4-BE49-F238E27FC236}">
                  <a16:creationId xmlns:a16="http://schemas.microsoft.com/office/drawing/2014/main" id="{795A7F5F-5BB4-4E59-8D97-0332F453E9D8}"/>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47;p2">
              <a:extLst>
                <a:ext uri="{FF2B5EF4-FFF2-40B4-BE49-F238E27FC236}">
                  <a16:creationId xmlns:a16="http://schemas.microsoft.com/office/drawing/2014/main" id="{C5E1B8C9-851C-4F75-B9DD-82A1506E00E8}"/>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1" name="Google Shape;48;p2">
              <a:extLst>
                <a:ext uri="{FF2B5EF4-FFF2-40B4-BE49-F238E27FC236}">
                  <a16:creationId xmlns:a16="http://schemas.microsoft.com/office/drawing/2014/main" id="{4D10690C-C3D5-466C-AD32-8BB998CFB067}"/>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50;p2">
              <a:extLst>
                <a:ext uri="{FF2B5EF4-FFF2-40B4-BE49-F238E27FC236}">
                  <a16:creationId xmlns:a16="http://schemas.microsoft.com/office/drawing/2014/main" id="{708C5B91-1264-4D6C-A190-BC6FAC6C274A}"/>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4" name="Google Shape;51;p2">
              <a:extLst>
                <a:ext uri="{FF2B5EF4-FFF2-40B4-BE49-F238E27FC236}">
                  <a16:creationId xmlns:a16="http://schemas.microsoft.com/office/drawing/2014/main" id="{EB842972-F3A9-4119-BEBC-00CE4D3660D6}"/>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5" name="Google Shape;52;p2">
              <a:extLst>
                <a:ext uri="{FF2B5EF4-FFF2-40B4-BE49-F238E27FC236}">
                  <a16:creationId xmlns:a16="http://schemas.microsoft.com/office/drawing/2014/main" id="{E0E7B5CB-3D65-4882-B5EF-91D6FB545DD2}"/>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91" name="Google Shape;55;p2">
              <a:extLst>
                <a:ext uri="{FF2B5EF4-FFF2-40B4-BE49-F238E27FC236}">
                  <a16:creationId xmlns:a16="http://schemas.microsoft.com/office/drawing/2014/main" id="{3D9B4B76-5127-4D96-8478-952301488486}"/>
                </a:ext>
              </a:extLst>
            </p:cNvPr>
            <p:cNvSpPr/>
            <p:nvPr/>
          </p:nvSpPr>
          <p:spPr>
            <a:xfrm rot="891035">
              <a:off x="745490" y="2361244"/>
              <a:ext cx="308111"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7" name="Google Shape;56;p2">
              <a:extLst>
                <a:ext uri="{FF2B5EF4-FFF2-40B4-BE49-F238E27FC236}">
                  <a16:creationId xmlns:a16="http://schemas.microsoft.com/office/drawing/2014/main" id="{BCC50E44-D05B-4D2B-BFC7-9BFD74379BFC}"/>
                </a:ext>
              </a:extLst>
            </p:cNvPr>
            <p:cNvSpPr/>
            <p:nvPr/>
          </p:nvSpPr>
          <p:spPr>
            <a:xfrm rot="19903308">
              <a:off x="7700472" y="1524196"/>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9" name="Google Shape;58;p2">
              <a:extLst>
                <a:ext uri="{FF2B5EF4-FFF2-40B4-BE49-F238E27FC236}">
                  <a16:creationId xmlns:a16="http://schemas.microsoft.com/office/drawing/2014/main" id="{ECF2D44A-FB25-43C4-AFB2-097784CDC432}"/>
                </a:ext>
              </a:extLst>
            </p:cNvPr>
            <p:cNvGrpSpPr/>
            <p:nvPr/>
          </p:nvGrpSpPr>
          <p:grpSpPr>
            <a:xfrm>
              <a:off x="346827" y="3411153"/>
              <a:ext cx="376916" cy="455685"/>
              <a:chOff x="1010452" y="1144365"/>
              <a:chExt cx="376916" cy="455685"/>
            </a:xfrm>
          </p:grpSpPr>
          <p:sp>
            <p:nvSpPr>
              <p:cNvPr id="88" name="Google Shape;59;p2">
                <a:extLst>
                  <a:ext uri="{FF2B5EF4-FFF2-40B4-BE49-F238E27FC236}">
                    <a16:creationId xmlns:a16="http://schemas.microsoft.com/office/drawing/2014/main" id="{9DAA066F-D056-423F-BF3E-D6A24D45AE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89" name="Google Shape;60;p2">
                <a:extLst>
                  <a:ext uri="{FF2B5EF4-FFF2-40B4-BE49-F238E27FC236}">
                    <a16:creationId xmlns:a16="http://schemas.microsoft.com/office/drawing/2014/main" id="{3D9CCD77-55C1-476F-8683-56ED66C7A90A}"/>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0" name="Google Shape;61;p2">
              <a:extLst>
                <a:ext uri="{FF2B5EF4-FFF2-40B4-BE49-F238E27FC236}">
                  <a16:creationId xmlns:a16="http://schemas.microsoft.com/office/drawing/2014/main" id="{4AF7C0F7-47FA-4AEE-B784-77502FF351F3}"/>
                </a:ext>
              </a:extLst>
            </p:cNvPr>
            <p:cNvGrpSpPr/>
            <p:nvPr/>
          </p:nvGrpSpPr>
          <p:grpSpPr>
            <a:xfrm>
              <a:off x="7439637" y="3918577"/>
              <a:ext cx="503800" cy="507307"/>
              <a:chOff x="7439637" y="3918577"/>
              <a:chExt cx="503800" cy="507307"/>
            </a:xfrm>
          </p:grpSpPr>
          <p:sp>
            <p:nvSpPr>
              <p:cNvPr id="86" name="Google Shape;62;p2">
                <a:extLst>
                  <a:ext uri="{FF2B5EF4-FFF2-40B4-BE49-F238E27FC236}">
                    <a16:creationId xmlns:a16="http://schemas.microsoft.com/office/drawing/2014/main" id="{46328B47-DA59-4652-A7F5-124DD21137EF}"/>
                  </a:ext>
                </a:extLst>
              </p:cNvPr>
              <p:cNvSpPr/>
              <p:nvPr/>
            </p:nvSpPr>
            <p:spPr>
              <a:xfrm>
                <a:off x="7547126" y="4133375"/>
                <a:ext cx="332324"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7" name="Google Shape;63;p2">
                <a:extLst>
                  <a:ext uri="{FF2B5EF4-FFF2-40B4-BE49-F238E27FC236}">
                    <a16:creationId xmlns:a16="http://schemas.microsoft.com/office/drawing/2014/main" id="{9199EEDB-BB7B-4A6E-ADD8-4E3E159896F8}"/>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1" name="Google Shape;64;p2">
              <a:extLst>
                <a:ext uri="{FF2B5EF4-FFF2-40B4-BE49-F238E27FC236}">
                  <a16:creationId xmlns:a16="http://schemas.microsoft.com/office/drawing/2014/main" id="{E59F448A-21CE-4C24-B920-61BB83D212B2}"/>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65;p2">
              <a:extLst>
                <a:ext uri="{FF2B5EF4-FFF2-40B4-BE49-F238E27FC236}">
                  <a16:creationId xmlns:a16="http://schemas.microsoft.com/office/drawing/2014/main" id="{527558DB-1967-464C-A148-6CC493D6068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3" name="Google Shape;66;p2">
              <a:extLst>
                <a:ext uri="{FF2B5EF4-FFF2-40B4-BE49-F238E27FC236}">
                  <a16:creationId xmlns:a16="http://schemas.microsoft.com/office/drawing/2014/main" id="{6696EF14-D5CC-40FA-AFFE-9EE05B54F2CD}"/>
                </a:ext>
              </a:extLst>
            </p:cNvPr>
            <p:cNvGrpSpPr/>
            <p:nvPr/>
          </p:nvGrpSpPr>
          <p:grpSpPr>
            <a:xfrm>
              <a:off x="7413193" y="740389"/>
              <a:ext cx="289739" cy="482318"/>
              <a:chOff x="4912930" y="846902"/>
              <a:chExt cx="289739" cy="482318"/>
            </a:xfrm>
          </p:grpSpPr>
          <p:sp>
            <p:nvSpPr>
              <p:cNvPr id="84" name="Google Shape;67;p2">
                <a:extLst>
                  <a:ext uri="{FF2B5EF4-FFF2-40B4-BE49-F238E27FC236}">
                    <a16:creationId xmlns:a16="http://schemas.microsoft.com/office/drawing/2014/main" id="{B789A9D7-7032-492B-8E88-FAAFF213085F}"/>
                  </a:ext>
                </a:extLst>
              </p:cNvPr>
              <p:cNvSpPr/>
              <p:nvPr/>
            </p:nvSpPr>
            <p:spPr>
              <a:xfrm rot="-539734">
                <a:off x="4946894" y="1102828"/>
                <a:ext cx="216728" cy="21074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5" name="Google Shape;68;p2">
                <a:extLst>
                  <a:ext uri="{FF2B5EF4-FFF2-40B4-BE49-F238E27FC236}">
                    <a16:creationId xmlns:a16="http://schemas.microsoft.com/office/drawing/2014/main" id="{04D6CFDC-9538-4D9F-8FF0-4602FECC44E8}"/>
                  </a:ext>
                </a:extLst>
              </p:cNvPr>
              <p:cNvSpPr/>
              <p:nvPr/>
            </p:nvSpPr>
            <p:spPr>
              <a:xfrm>
                <a:off x="4912930" y="846902"/>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4" name="Google Shape;69;p2">
              <a:extLst>
                <a:ext uri="{FF2B5EF4-FFF2-40B4-BE49-F238E27FC236}">
                  <a16:creationId xmlns:a16="http://schemas.microsoft.com/office/drawing/2014/main" id="{FF13580C-CB14-4338-9AB3-16D33D789C93}"/>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70;p2">
              <a:extLst>
                <a:ext uri="{FF2B5EF4-FFF2-40B4-BE49-F238E27FC236}">
                  <a16:creationId xmlns:a16="http://schemas.microsoft.com/office/drawing/2014/main" id="{E5A5B5C8-FD14-4385-AE28-FC4CE101CBF1}"/>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6" name="Google Shape;71;p2">
              <a:extLst>
                <a:ext uri="{FF2B5EF4-FFF2-40B4-BE49-F238E27FC236}">
                  <a16:creationId xmlns:a16="http://schemas.microsoft.com/office/drawing/2014/main" id="{EF0497D5-034D-4BED-B2FD-96D861FDF618}"/>
                </a:ext>
              </a:extLst>
            </p:cNvPr>
            <p:cNvGrpSpPr/>
            <p:nvPr/>
          </p:nvGrpSpPr>
          <p:grpSpPr>
            <a:xfrm>
              <a:off x="7852211" y="2487060"/>
              <a:ext cx="409425" cy="567881"/>
              <a:chOff x="7852211" y="2487060"/>
              <a:chExt cx="409425" cy="567881"/>
            </a:xfrm>
          </p:grpSpPr>
          <p:sp>
            <p:nvSpPr>
              <p:cNvPr id="82" name="Google Shape;72;p2">
                <a:extLst>
                  <a:ext uri="{FF2B5EF4-FFF2-40B4-BE49-F238E27FC236}">
                    <a16:creationId xmlns:a16="http://schemas.microsoft.com/office/drawing/2014/main" id="{17A26FFC-8348-4ABC-A812-F6E26FDB1B85}"/>
                  </a:ext>
                </a:extLst>
              </p:cNvPr>
              <p:cNvSpPr/>
              <p:nvPr/>
            </p:nvSpPr>
            <p:spPr>
              <a:xfrm rot="6678441">
                <a:off x="7797463" y="2541808"/>
                <a:ext cx="518922" cy="40942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3" name="Google Shape;73;p2">
                <a:extLst>
                  <a:ext uri="{FF2B5EF4-FFF2-40B4-BE49-F238E27FC236}">
                    <a16:creationId xmlns:a16="http://schemas.microsoft.com/office/drawing/2014/main" id="{5BD01DDA-6970-4AD9-88E1-5EC430ADC778}"/>
                  </a:ext>
                </a:extLst>
              </p:cNvPr>
              <p:cNvSpPr/>
              <p:nvPr/>
            </p:nvSpPr>
            <p:spPr>
              <a:xfrm rot="20354952">
                <a:off x="7855283" y="2517765"/>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7" name="Google Shape;74;p2">
              <a:extLst>
                <a:ext uri="{FF2B5EF4-FFF2-40B4-BE49-F238E27FC236}">
                  <a16:creationId xmlns:a16="http://schemas.microsoft.com/office/drawing/2014/main" id="{659C0682-6BC4-4294-943E-0123E3492480}"/>
                </a:ext>
              </a:extLst>
            </p:cNvPr>
            <p:cNvGrpSpPr/>
            <p:nvPr/>
          </p:nvGrpSpPr>
          <p:grpSpPr>
            <a:xfrm>
              <a:off x="286734" y="1360788"/>
              <a:ext cx="437027" cy="515682"/>
              <a:chOff x="286734" y="1360788"/>
              <a:chExt cx="437027" cy="515682"/>
            </a:xfrm>
          </p:grpSpPr>
          <p:sp>
            <p:nvSpPr>
              <p:cNvPr id="80" name="Google Shape;75;p2">
                <a:extLst>
                  <a:ext uri="{FF2B5EF4-FFF2-40B4-BE49-F238E27FC236}">
                    <a16:creationId xmlns:a16="http://schemas.microsoft.com/office/drawing/2014/main" id="{73DCC9B3-C9C8-4AA7-A179-BC5D1EFCFE34}"/>
                  </a:ext>
                </a:extLst>
              </p:cNvPr>
              <p:cNvSpPr/>
              <p:nvPr/>
            </p:nvSpPr>
            <p:spPr>
              <a:xfrm>
                <a:off x="286734" y="1396113"/>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1" name="Google Shape;76;p2">
                <a:extLst>
                  <a:ext uri="{FF2B5EF4-FFF2-40B4-BE49-F238E27FC236}">
                    <a16:creationId xmlns:a16="http://schemas.microsoft.com/office/drawing/2014/main" id="{126F0858-6408-4050-BBCE-F70FADA594F6}"/>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8" name="Google Shape;77;p2">
              <a:extLst>
                <a:ext uri="{FF2B5EF4-FFF2-40B4-BE49-F238E27FC236}">
                  <a16:creationId xmlns:a16="http://schemas.microsoft.com/office/drawing/2014/main" id="{A3AA01DC-6A07-4C85-B5EF-4D5A93B2A10D}"/>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78;p2">
              <a:extLst>
                <a:ext uri="{FF2B5EF4-FFF2-40B4-BE49-F238E27FC236}">
                  <a16:creationId xmlns:a16="http://schemas.microsoft.com/office/drawing/2014/main" id="{388C9D55-90F3-4356-87AA-968D9E2FEAF3}"/>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79;p2">
              <a:extLst>
                <a:ext uri="{FF2B5EF4-FFF2-40B4-BE49-F238E27FC236}">
                  <a16:creationId xmlns:a16="http://schemas.microsoft.com/office/drawing/2014/main" id="{F3A5549A-876E-45E2-A621-E4C04BEA4816}"/>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80;p2">
              <a:extLst>
                <a:ext uri="{FF2B5EF4-FFF2-40B4-BE49-F238E27FC236}">
                  <a16:creationId xmlns:a16="http://schemas.microsoft.com/office/drawing/2014/main" id="{E19FCB57-4C77-4452-9EDE-9CF05C41F758}"/>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2" name="Google Shape;81;p2">
              <a:extLst>
                <a:ext uri="{FF2B5EF4-FFF2-40B4-BE49-F238E27FC236}">
                  <a16:creationId xmlns:a16="http://schemas.microsoft.com/office/drawing/2014/main" id="{991E8543-6457-41EF-A093-9737A2F9EE38}"/>
                </a:ext>
              </a:extLst>
            </p:cNvPr>
            <p:cNvGrpSpPr/>
            <p:nvPr/>
          </p:nvGrpSpPr>
          <p:grpSpPr>
            <a:xfrm>
              <a:off x="8513660" y="3273951"/>
              <a:ext cx="236955" cy="259508"/>
              <a:chOff x="1624551" y="3569952"/>
              <a:chExt cx="236955" cy="259508"/>
            </a:xfrm>
          </p:grpSpPr>
          <p:sp>
            <p:nvSpPr>
              <p:cNvPr id="78" name="Google Shape;82;p2">
                <a:extLst>
                  <a:ext uri="{FF2B5EF4-FFF2-40B4-BE49-F238E27FC236}">
                    <a16:creationId xmlns:a16="http://schemas.microsoft.com/office/drawing/2014/main" id="{C7DF3842-B862-4240-8CA8-E8140697D3DC}"/>
                  </a:ext>
                </a:extLst>
              </p:cNvPr>
              <p:cNvSpPr/>
              <p:nvPr/>
            </p:nvSpPr>
            <p:spPr>
              <a:xfrm>
                <a:off x="1624551" y="3569952"/>
                <a:ext cx="224786" cy="22765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9" name="Google Shape;83;p2">
                <a:extLst>
                  <a:ext uri="{FF2B5EF4-FFF2-40B4-BE49-F238E27FC236}">
                    <a16:creationId xmlns:a16="http://schemas.microsoft.com/office/drawing/2014/main" id="{320ACF7E-2D7B-4CBE-B2F6-5E5661CAFDC7}"/>
                  </a:ext>
                </a:extLst>
              </p:cNvPr>
              <p:cNvSpPr/>
              <p:nvPr/>
            </p:nvSpPr>
            <p:spPr>
              <a:xfrm>
                <a:off x="1625368" y="3599553"/>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53" name="Google Shape;84;p2">
              <a:extLst>
                <a:ext uri="{FF2B5EF4-FFF2-40B4-BE49-F238E27FC236}">
                  <a16:creationId xmlns:a16="http://schemas.microsoft.com/office/drawing/2014/main" id="{C2A2A45D-1013-46CC-9BE8-C87DA338C1B2}"/>
                </a:ext>
              </a:extLst>
            </p:cNvPr>
            <p:cNvGrpSpPr/>
            <p:nvPr/>
          </p:nvGrpSpPr>
          <p:grpSpPr>
            <a:xfrm>
              <a:off x="3637530" y="4055057"/>
              <a:ext cx="418773" cy="520154"/>
              <a:chOff x="3637530" y="4055057"/>
              <a:chExt cx="418773" cy="520154"/>
            </a:xfrm>
          </p:grpSpPr>
          <p:sp>
            <p:nvSpPr>
              <p:cNvPr id="76" name="Google Shape;85;p2">
                <a:extLst>
                  <a:ext uri="{FF2B5EF4-FFF2-40B4-BE49-F238E27FC236}">
                    <a16:creationId xmlns:a16="http://schemas.microsoft.com/office/drawing/2014/main" id="{9BEFDE11-15FD-4E8D-A436-F119FB103822}"/>
                  </a:ext>
                </a:extLst>
              </p:cNvPr>
              <p:cNvSpPr/>
              <p:nvPr/>
            </p:nvSpPr>
            <p:spPr>
              <a:xfrm rot="5542319">
                <a:off x="3769303" y="4204066"/>
                <a:ext cx="285154" cy="277283"/>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7" name="Google Shape;86;p2">
                <a:extLst>
                  <a:ext uri="{FF2B5EF4-FFF2-40B4-BE49-F238E27FC236}">
                    <a16:creationId xmlns:a16="http://schemas.microsoft.com/office/drawing/2014/main" id="{FDA24A41-B4F9-4E3A-997E-85B5DAEB1210}"/>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4" name="Google Shape;87;p2">
              <a:extLst>
                <a:ext uri="{FF2B5EF4-FFF2-40B4-BE49-F238E27FC236}">
                  <a16:creationId xmlns:a16="http://schemas.microsoft.com/office/drawing/2014/main" id="{744A2DE7-10E1-4F99-B048-70EE169979E7}"/>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88;p2">
              <a:extLst>
                <a:ext uri="{FF2B5EF4-FFF2-40B4-BE49-F238E27FC236}">
                  <a16:creationId xmlns:a16="http://schemas.microsoft.com/office/drawing/2014/main" id="{2AF5F280-BD3E-405D-BEF9-7EC951D2C3B2}"/>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6" name="Google Shape;89;p2">
              <a:extLst>
                <a:ext uri="{FF2B5EF4-FFF2-40B4-BE49-F238E27FC236}">
                  <a16:creationId xmlns:a16="http://schemas.microsoft.com/office/drawing/2014/main" id="{CD802E64-9278-42FB-B79A-4AC869E37036}"/>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7" name="Google Shape;90;p2">
              <a:extLst>
                <a:ext uri="{FF2B5EF4-FFF2-40B4-BE49-F238E27FC236}">
                  <a16:creationId xmlns:a16="http://schemas.microsoft.com/office/drawing/2014/main" id="{5F0111DC-8D76-4C1A-8432-67D8400F8F34}"/>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91;p2">
              <a:extLst>
                <a:ext uri="{FF2B5EF4-FFF2-40B4-BE49-F238E27FC236}">
                  <a16:creationId xmlns:a16="http://schemas.microsoft.com/office/drawing/2014/main" id="{04D85F76-A436-4F44-A271-5812B6E3700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9" name="Google Shape;92;p2">
              <a:extLst>
                <a:ext uri="{FF2B5EF4-FFF2-40B4-BE49-F238E27FC236}">
                  <a16:creationId xmlns:a16="http://schemas.microsoft.com/office/drawing/2014/main" id="{1BD1C5A8-F98B-423D-96AC-88AEC1AE8FA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0" name="Google Shape;93;p2">
              <a:extLst>
                <a:ext uri="{FF2B5EF4-FFF2-40B4-BE49-F238E27FC236}">
                  <a16:creationId xmlns:a16="http://schemas.microsoft.com/office/drawing/2014/main" id="{D358510C-7FE3-4EC0-A6FC-0C87AEC9D1BC}"/>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1" name="Google Shape;94;p2">
              <a:extLst>
                <a:ext uri="{FF2B5EF4-FFF2-40B4-BE49-F238E27FC236}">
                  <a16:creationId xmlns:a16="http://schemas.microsoft.com/office/drawing/2014/main" id="{9062A484-71B7-4182-B701-AF300989DB6F}"/>
                </a:ext>
              </a:extLst>
            </p:cNvPr>
            <p:cNvGrpSpPr/>
            <p:nvPr/>
          </p:nvGrpSpPr>
          <p:grpSpPr>
            <a:xfrm>
              <a:off x="6457245" y="4530131"/>
              <a:ext cx="216066" cy="276377"/>
              <a:chOff x="6422295" y="3351500"/>
              <a:chExt cx="252856" cy="323399"/>
            </a:xfrm>
          </p:grpSpPr>
          <p:sp>
            <p:nvSpPr>
              <p:cNvPr id="74" name="Google Shape;95;p2">
                <a:extLst>
                  <a:ext uri="{FF2B5EF4-FFF2-40B4-BE49-F238E27FC236}">
                    <a16:creationId xmlns:a16="http://schemas.microsoft.com/office/drawing/2014/main" id="{D5B2D0E3-2414-483A-A92C-B41C7C2F4383}"/>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5" name="Google Shape;96;p2">
                <a:extLst>
                  <a:ext uri="{FF2B5EF4-FFF2-40B4-BE49-F238E27FC236}">
                    <a16:creationId xmlns:a16="http://schemas.microsoft.com/office/drawing/2014/main" id="{4B02C55D-41F4-4253-8C65-32414270B842}"/>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62" name="Google Shape;97;p2">
              <a:extLst>
                <a:ext uri="{FF2B5EF4-FFF2-40B4-BE49-F238E27FC236}">
                  <a16:creationId xmlns:a16="http://schemas.microsoft.com/office/drawing/2014/main" id="{4B42BFA4-94A2-47FB-884C-087EEABE659B}"/>
                </a:ext>
              </a:extLst>
            </p:cNvPr>
            <p:cNvGrpSpPr/>
            <p:nvPr/>
          </p:nvGrpSpPr>
          <p:grpSpPr>
            <a:xfrm>
              <a:off x="2318449" y="604142"/>
              <a:ext cx="332332" cy="346582"/>
              <a:chOff x="2318449" y="604142"/>
              <a:chExt cx="332332" cy="346582"/>
            </a:xfrm>
          </p:grpSpPr>
          <p:sp>
            <p:nvSpPr>
              <p:cNvPr id="72" name="Google Shape;98;p2">
                <a:extLst>
                  <a:ext uri="{FF2B5EF4-FFF2-40B4-BE49-F238E27FC236}">
                    <a16:creationId xmlns:a16="http://schemas.microsoft.com/office/drawing/2014/main" id="{45BFEA4F-7187-48C0-BE71-F050BBD1D2AC}"/>
                  </a:ext>
                </a:extLst>
              </p:cNvPr>
              <p:cNvSpPr/>
              <p:nvPr/>
            </p:nvSpPr>
            <p:spPr>
              <a:xfrm>
                <a:off x="2361884" y="604142"/>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3" name="Google Shape;99;p2">
                <a:extLst>
                  <a:ext uri="{FF2B5EF4-FFF2-40B4-BE49-F238E27FC236}">
                    <a16:creationId xmlns:a16="http://schemas.microsoft.com/office/drawing/2014/main" id="{5E5C0466-3ECB-4D2F-A47F-B12B99490945}"/>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3" name="Google Shape;100;p2">
              <a:extLst>
                <a:ext uri="{FF2B5EF4-FFF2-40B4-BE49-F238E27FC236}">
                  <a16:creationId xmlns:a16="http://schemas.microsoft.com/office/drawing/2014/main" id="{FA513803-C6DB-4A96-B1CD-9E139ADB0FB6}"/>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4" name="Google Shape;101;p2">
              <a:extLst>
                <a:ext uri="{FF2B5EF4-FFF2-40B4-BE49-F238E27FC236}">
                  <a16:creationId xmlns:a16="http://schemas.microsoft.com/office/drawing/2014/main" id="{B80C4209-0690-4AAC-BF88-3AB881D5F86A}"/>
                </a:ext>
              </a:extLst>
            </p:cNvPr>
            <p:cNvGrpSpPr/>
            <p:nvPr/>
          </p:nvGrpSpPr>
          <p:grpSpPr>
            <a:xfrm>
              <a:off x="1184427" y="4630083"/>
              <a:ext cx="229693" cy="293080"/>
              <a:chOff x="6793660" y="3322411"/>
              <a:chExt cx="268804" cy="342944"/>
            </a:xfrm>
          </p:grpSpPr>
          <p:sp>
            <p:nvSpPr>
              <p:cNvPr id="69" name="Google Shape;102;p2">
                <a:extLst>
                  <a:ext uri="{FF2B5EF4-FFF2-40B4-BE49-F238E27FC236}">
                    <a16:creationId xmlns:a16="http://schemas.microsoft.com/office/drawing/2014/main" id="{B923C977-ADAA-4F71-9F28-0DB582894E5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03;p2">
                <a:extLst>
                  <a:ext uri="{FF2B5EF4-FFF2-40B4-BE49-F238E27FC236}">
                    <a16:creationId xmlns:a16="http://schemas.microsoft.com/office/drawing/2014/main" id="{A15BC7F6-A2A2-4D19-AC66-B91FA8853697}"/>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1" name="Google Shape;104;p2">
                <a:extLst>
                  <a:ext uri="{FF2B5EF4-FFF2-40B4-BE49-F238E27FC236}">
                    <a16:creationId xmlns:a16="http://schemas.microsoft.com/office/drawing/2014/main" id="{9FEC534F-B9AF-47D0-9970-81E5E96067BD}"/>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5" name="Google Shape;105;p2">
              <a:extLst>
                <a:ext uri="{FF2B5EF4-FFF2-40B4-BE49-F238E27FC236}">
                  <a16:creationId xmlns:a16="http://schemas.microsoft.com/office/drawing/2014/main" id="{3C5A8E4E-2D95-42E0-BFF6-55CD715703A5}"/>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06;p2">
              <a:extLst>
                <a:ext uri="{FF2B5EF4-FFF2-40B4-BE49-F238E27FC236}">
                  <a16:creationId xmlns:a16="http://schemas.microsoft.com/office/drawing/2014/main" id="{7401099E-BCAB-4984-9156-073D0B5C8ADF}"/>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7" name="Google Shape;107;p2">
              <a:extLst>
                <a:ext uri="{FF2B5EF4-FFF2-40B4-BE49-F238E27FC236}">
                  <a16:creationId xmlns:a16="http://schemas.microsoft.com/office/drawing/2014/main" id="{F99A971C-E4E0-4CA7-8E34-DA50FE569F9B}"/>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ADF89E-7B46-457A-968E-2EC4E643C292}"/>
              </a:ext>
            </a:extLst>
          </p:cNvPr>
          <p:cNvGraphicFramePr>
            <a:graphicFrameLocks noChangeAspect="1"/>
          </p:cNvGraphicFramePr>
          <p:nvPr userDrawn="1">
            <p:custDataLst>
              <p:tags r:id="rId1"/>
            </p:custDataLst>
            <p:extLst>
              <p:ext uri="{D42A27DB-BD31-4B8C-83A1-F6EECF244321}">
                <p14:modId xmlns:p14="http://schemas.microsoft.com/office/powerpoint/2010/main" val="353762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BADF89E-7B46-457A-968E-2EC4E643C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20-06-2024</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9907839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181633-8F80-4D7E-B046-3481FFAD6D62}"/>
              </a:ext>
            </a:extLst>
          </p:cNvPr>
          <p:cNvGraphicFramePr>
            <a:graphicFrameLocks noChangeAspect="1"/>
          </p:cNvGraphicFramePr>
          <p:nvPr userDrawn="1">
            <p:custDataLst>
              <p:tags r:id="rId1"/>
            </p:custDataLst>
            <p:extLst>
              <p:ext uri="{D42A27DB-BD31-4B8C-83A1-F6EECF244321}">
                <p14:modId xmlns:p14="http://schemas.microsoft.com/office/powerpoint/2010/main" val="1089424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3181633-8F80-4D7E-B046-3481FFAD6D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20-06-2024</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954852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AAEEF4-43C5-4FEC-A7AB-DEFE097F5DBF}"/>
              </a:ext>
            </a:extLst>
          </p:cNvPr>
          <p:cNvGraphicFramePr>
            <a:graphicFrameLocks noChangeAspect="1"/>
          </p:cNvGraphicFramePr>
          <p:nvPr userDrawn="1">
            <p:custDataLst>
              <p:tags r:id="rId1"/>
            </p:custDataLst>
            <p:extLst>
              <p:ext uri="{D42A27DB-BD31-4B8C-83A1-F6EECF244321}">
                <p14:modId xmlns:p14="http://schemas.microsoft.com/office/powerpoint/2010/main" val="289228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0FAAEEF4-43C5-4FEC-A7AB-DEFE097F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20-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E477C6-0E0F-4923-9BE1-6EA202782F14}"/>
              </a:ext>
            </a:extLst>
          </p:cNvPr>
          <p:cNvGraphicFramePr>
            <a:graphicFrameLocks noChangeAspect="1"/>
          </p:cNvGraphicFramePr>
          <p:nvPr userDrawn="1">
            <p:custDataLst>
              <p:tags r:id="rId1"/>
            </p:custDataLst>
            <p:extLst>
              <p:ext uri="{D42A27DB-BD31-4B8C-83A1-F6EECF244321}">
                <p14:modId xmlns:p14="http://schemas.microsoft.com/office/powerpoint/2010/main" val="372322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6E477C6-0E0F-4923-9BE1-6EA202782F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D6712D-8349-4452-83F4-F74B096DC8E1}"/>
              </a:ext>
            </a:extLst>
          </p:cNvPr>
          <p:cNvGraphicFramePr>
            <a:graphicFrameLocks noChangeAspect="1"/>
          </p:cNvGraphicFramePr>
          <p:nvPr userDrawn="1">
            <p:custDataLst>
              <p:tags r:id="rId1"/>
            </p:custDataLst>
            <p:extLst>
              <p:ext uri="{D42A27DB-BD31-4B8C-83A1-F6EECF244321}">
                <p14:modId xmlns:p14="http://schemas.microsoft.com/office/powerpoint/2010/main" val="4174081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9D6712D-8349-4452-83F4-F74B096DC8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20-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63C12A-5A0C-47F1-A66E-EB845B95A278}"/>
              </a:ext>
            </a:extLst>
          </p:cNvPr>
          <p:cNvGraphicFramePr>
            <a:graphicFrameLocks noChangeAspect="1"/>
          </p:cNvGraphicFramePr>
          <p:nvPr userDrawn="1">
            <p:custDataLst>
              <p:tags r:id="rId1"/>
            </p:custDataLst>
            <p:extLst>
              <p:ext uri="{D42A27DB-BD31-4B8C-83A1-F6EECF244321}">
                <p14:modId xmlns:p14="http://schemas.microsoft.com/office/powerpoint/2010/main" val="342257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63C12A-5A0C-47F1-A66E-EB845B95A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20-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2FAD87-12DE-4F46-A7FF-9DA753895102}"/>
              </a:ext>
            </a:extLst>
          </p:cNvPr>
          <p:cNvGraphicFramePr>
            <a:graphicFrameLocks noChangeAspect="1"/>
          </p:cNvGraphicFramePr>
          <p:nvPr userDrawn="1">
            <p:custDataLst>
              <p:tags r:id="rId1"/>
            </p:custDataLst>
            <p:extLst>
              <p:ext uri="{D42A27DB-BD31-4B8C-83A1-F6EECF244321}">
                <p14:modId xmlns:p14="http://schemas.microsoft.com/office/powerpoint/2010/main" val="196375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632FAD87-12DE-4F46-A7FF-9DA7538951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20-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611428-C7C8-414E-980A-EBF482F7239B}"/>
              </a:ext>
            </a:extLst>
          </p:cNvPr>
          <p:cNvGraphicFramePr>
            <a:graphicFrameLocks noChangeAspect="1"/>
          </p:cNvGraphicFramePr>
          <p:nvPr userDrawn="1">
            <p:custDataLst>
              <p:tags r:id="rId1"/>
            </p:custDataLst>
            <p:extLst>
              <p:ext uri="{D42A27DB-BD31-4B8C-83A1-F6EECF244321}">
                <p14:modId xmlns:p14="http://schemas.microsoft.com/office/powerpoint/2010/main" val="284453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611428-C7C8-414E-980A-EBF482F723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20-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8377B1-4288-46FB-ADCE-D255A6EB9D3D}"/>
              </a:ext>
            </a:extLst>
          </p:cNvPr>
          <p:cNvGraphicFramePr>
            <a:graphicFrameLocks noChangeAspect="1"/>
          </p:cNvGraphicFramePr>
          <p:nvPr userDrawn="1">
            <p:custDataLst>
              <p:tags r:id="rId1"/>
            </p:custDataLst>
            <p:extLst>
              <p:ext uri="{D42A27DB-BD31-4B8C-83A1-F6EECF244321}">
                <p14:modId xmlns:p14="http://schemas.microsoft.com/office/powerpoint/2010/main" val="87699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0D8377B1-4288-46FB-ADCE-D255A6EB9D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20-06-2024</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E737EA-FF19-401F-A092-0F59822D928A}"/>
              </a:ext>
            </a:extLst>
          </p:cNvPr>
          <p:cNvGraphicFramePr>
            <a:graphicFrameLocks noChangeAspect="1"/>
          </p:cNvGraphicFramePr>
          <p:nvPr userDrawn="1">
            <p:custDataLst>
              <p:tags r:id="rId1"/>
            </p:custDataLst>
            <p:extLst>
              <p:ext uri="{D42A27DB-BD31-4B8C-83A1-F6EECF244321}">
                <p14:modId xmlns:p14="http://schemas.microsoft.com/office/powerpoint/2010/main" val="185704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D3E737EA-FF19-401F-A092-0F59822D92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20-06-2024</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989A8E-FDC6-4CFE-9DCA-F8A156018290}"/>
              </a:ext>
            </a:extLst>
          </p:cNvPr>
          <p:cNvGraphicFramePr>
            <a:graphicFrameLocks noChangeAspect="1"/>
          </p:cNvGraphicFramePr>
          <p:nvPr userDrawn="1">
            <p:custDataLst>
              <p:tags r:id="rId1"/>
            </p:custDataLst>
            <p:extLst>
              <p:ext uri="{D42A27DB-BD31-4B8C-83A1-F6EECF244321}">
                <p14:modId xmlns:p14="http://schemas.microsoft.com/office/powerpoint/2010/main" val="368096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9F989A8E-FDC6-4CFE-9DCA-F8A1560182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6226679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54B3C9-F00B-4DA0-A35A-016D662582F0}"/>
              </a:ext>
            </a:extLst>
          </p:cNvPr>
          <p:cNvGraphicFramePr>
            <a:graphicFrameLocks noChangeAspect="1"/>
          </p:cNvGraphicFramePr>
          <p:nvPr userDrawn="1">
            <p:custDataLst>
              <p:tags r:id="rId1"/>
            </p:custDataLst>
            <p:extLst>
              <p:ext uri="{D42A27DB-BD31-4B8C-83A1-F6EECF244321}">
                <p14:modId xmlns:p14="http://schemas.microsoft.com/office/powerpoint/2010/main" val="325896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954B3C9-F00B-4DA0-A35A-016D662582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5804923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1BF513-A764-4213-B6C8-45BD92F0582C}"/>
              </a:ext>
            </a:extLst>
          </p:cNvPr>
          <p:cNvGraphicFramePr>
            <a:graphicFrameLocks noChangeAspect="1"/>
          </p:cNvGraphicFramePr>
          <p:nvPr userDrawn="1">
            <p:custDataLst>
              <p:tags r:id="rId1"/>
            </p:custDataLst>
            <p:extLst>
              <p:ext uri="{D42A27DB-BD31-4B8C-83A1-F6EECF244321}">
                <p14:modId xmlns:p14="http://schemas.microsoft.com/office/powerpoint/2010/main" val="338286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11BF513-A764-4213-B6C8-45BD92F058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648110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615D26-BD1B-485E-81BA-C5A949306F15}"/>
              </a:ext>
            </a:extLst>
          </p:cNvPr>
          <p:cNvGraphicFramePr>
            <a:graphicFrameLocks noChangeAspect="1"/>
          </p:cNvGraphicFramePr>
          <p:nvPr userDrawn="1">
            <p:custDataLst>
              <p:tags r:id="rId1"/>
            </p:custDataLst>
            <p:extLst>
              <p:ext uri="{D42A27DB-BD31-4B8C-83A1-F6EECF244321}">
                <p14:modId xmlns:p14="http://schemas.microsoft.com/office/powerpoint/2010/main" val="1005215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2615D26-BD1B-485E-81BA-C5A949306F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4273168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BC63DC-A6D8-4792-9CE7-E2B23129BCEA}"/>
              </a:ext>
            </a:extLst>
          </p:cNvPr>
          <p:cNvGraphicFramePr>
            <a:graphicFrameLocks noChangeAspect="1"/>
          </p:cNvGraphicFramePr>
          <p:nvPr userDrawn="1">
            <p:custDataLst>
              <p:tags r:id="rId1"/>
            </p:custDataLst>
            <p:extLst>
              <p:ext uri="{D42A27DB-BD31-4B8C-83A1-F6EECF244321}">
                <p14:modId xmlns:p14="http://schemas.microsoft.com/office/powerpoint/2010/main" val="41172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4EBC63DC-A6D8-4792-9CE7-E2B23129BC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31A58-417A-4039-81B5-5CA2D8C6DE57}"/>
              </a:ext>
            </a:extLst>
          </p:cNvPr>
          <p:cNvGraphicFramePr>
            <a:graphicFrameLocks noChangeAspect="1"/>
          </p:cNvGraphicFramePr>
          <p:nvPr userDrawn="1">
            <p:custDataLst>
              <p:tags r:id="rId1"/>
            </p:custDataLst>
            <p:extLst>
              <p:ext uri="{D42A27DB-BD31-4B8C-83A1-F6EECF244321}">
                <p14:modId xmlns:p14="http://schemas.microsoft.com/office/powerpoint/2010/main" val="330908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FF31A58-417A-4039-81B5-5CA2D8C6DE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77915639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A0870D-5A09-40C3-AAD2-3D3CB85D2C6E}"/>
              </a:ext>
            </a:extLst>
          </p:cNvPr>
          <p:cNvGraphicFramePr>
            <a:graphicFrameLocks noChangeAspect="1"/>
          </p:cNvGraphicFramePr>
          <p:nvPr userDrawn="1">
            <p:custDataLst>
              <p:tags r:id="rId1"/>
            </p:custDataLst>
            <p:extLst>
              <p:ext uri="{D42A27DB-BD31-4B8C-83A1-F6EECF244321}">
                <p14:modId xmlns:p14="http://schemas.microsoft.com/office/powerpoint/2010/main" val="1569275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7A0870D-5A09-40C3-AAD2-3D3CB85D2C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31473382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03D91C-9A9E-4990-9C51-5CD1A2754652}"/>
              </a:ext>
            </a:extLst>
          </p:cNvPr>
          <p:cNvGraphicFramePr>
            <a:graphicFrameLocks noChangeAspect="1"/>
          </p:cNvGraphicFramePr>
          <p:nvPr userDrawn="1">
            <p:custDataLst>
              <p:tags r:id="rId1"/>
            </p:custDataLst>
            <p:extLst>
              <p:ext uri="{D42A27DB-BD31-4B8C-83A1-F6EECF244321}">
                <p14:modId xmlns:p14="http://schemas.microsoft.com/office/powerpoint/2010/main" val="199394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B03D91C-9A9E-4990-9C51-5CD1A27546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409514969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F60166C-2A4A-473E-AEFC-94CF443D054F}"/>
              </a:ext>
            </a:extLst>
          </p:cNvPr>
          <p:cNvGraphicFramePr>
            <a:graphicFrameLocks noChangeAspect="1"/>
          </p:cNvGraphicFramePr>
          <p:nvPr userDrawn="1">
            <p:custDataLst>
              <p:tags r:id="rId1"/>
            </p:custDataLst>
            <p:extLst>
              <p:ext uri="{D42A27DB-BD31-4B8C-83A1-F6EECF244321}">
                <p14:modId xmlns:p14="http://schemas.microsoft.com/office/powerpoint/2010/main" val="160935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8F60166C-2A4A-473E-AEFC-94CF443D05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20-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13002442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46F85BC-C716-4553-BD5C-090299A90C86}"/>
              </a:ext>
            </a:extLst>
          </p:cNvPr>
          <p:cNvGraphicFramePr>
            <a:graphicFrameLocks noChangeAspect="1"/>
          </p:cNvGraphicFramePr>
          <p:nvPr userDrawn="1">
            <p:custDataLst>
              <p:tags r:id="rId1"/>
            </p:custDataLst>
            <p:extLst>
              <p:ext uri="{D42A27DB-BD31-4B8C-83A1-F6EECF244321}">
                <p14:modId xmlns:p14="http://schemas.microsoft.com/office/powerpoint/2010/main" val="1407088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46F85BC-C716-4553-BD5C-090299A90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20-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7623730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F084EF-E6C0-49F9-A75B-12C06FBE4633}"/>
              </a:ext>
            </a:extLst>
          </p:cNvPr>
          <p:cNvGraphicFramePr>
            <a:graphicFrameLocks noChangeAspect="1"/>
          </p:cNvGraphicFramePr>
          <p:nvPr userDrawn="1">
            <p:custDataLst>
              <p:tags r:id="rId1"/>
            </p:custDataLst>
            <p:extLst>
              <p:ext uri="{D42A27DB-BD31-4B8C-83A1-F6EECF244321}">
                <p14:modId xmlns:p14="http://schemas.microsoft.com/office/powerpoint/2010/main" val="150884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18F084EF-E6C0-49F9-A75B-12C06FBE4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4DE8F052-B495-40BE-9682-094846479C8E}" type="datetime1">
              <a:rPr lang="da-DK" smtClean="0"/>
              <a:pPr/>
              <a:t>20-06-2024</a:t>
            </a:fld>
            <a:endParaRPr lang="da-DK"/>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40918565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3C26FF-5B65-4D3E-A76B-DEB2248706A7}"/>
              </a:ext>
            </a:extLst>
          </p:cNvPr>
          <p:cNvGraphicFramePr>
            <a:graphicFrameLocks noChangeAspect="1"/>
          </p:cNvGraphicFramePr>
          <p:nvPr userDrawn="1">
            <p:custDataLst>
              <p:tags r:id="rId1"/>
            </p:custDataLst>
            <p:extLst>
              <p:ext uri="{D42A27DB-BD31-4B8C-83A1-F6EECF244321}">
                <p14:modId xmlns:p14="http://schemas.microsoft.com/office/powerpoint/2010/main" val="50301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793C26FF-5B65-4D3E-A76B-DEB2248706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20-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5172631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4EBE56-DC86-44DA-9707-F66B26C382B3}"/>
              </a:ext>
            </a:extLst>
          </p:cNvPr>
          <p:cNvGraphicFramePr>
            <a:graphicFrameLocks noChangeAspect="1"/>
          </p:cNvGraphicFramePr>
          <p:nvPr userDrawn="1">
            <p:custDataLst>
              <p:tags r:id="rId1"/>
            </p:custDataLst>
            <p:extLst>
              <p:ext uri="{D42A27DB-BD31-4B8C-83A1-F6EECF244321}">
                <p14:modId xmlns:p14="http://schemas.microsoft.com/office/powerpoint/2010/main" val="16901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24EBE56-DC86-44DA-9707-F66B26C38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20-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4673440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A4F71C-9CE1-44CF-B35F-7CF6E5D864E4}"/>
              </a:ext>
            </a:extLst>
          </p:cNvPr>
          <p:cNvGraphicFramePr>
            <a:graphicFrameLocks noChangeAspect="1"/>
          </p:cNvGraphicFramePr>
          <p:nvPr userDrawn="1">
            <p:custDataLst>
              <p:tags r:id="rId1"/>
            </p:custDataLst>
            <p:extLst>
              <p:ext uri="{D42A27DB-BD31-4B8C-83A1-F6EECF244321}">
                <p14:modId xmlns:p14="http://schemas.microsoft.com/office/powerpoint/2010/main" val="332935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4A4F71C-9CE1-44CF-B35F-7CF6E5D864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20-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01632255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9EF37A4-B44F-4C89-A073-242167466BED}"/>
              </a:ext>
            </a:extLst>
          </p:cNvPr>
          <p:cNvGraphicFramePr>
            <a:graphicFrameLocks noChangeAspect="1"/>
          </p:cNvGraphicFramePr>
          <p:nvPr userDrawn="1">
            <p:custDataLst>
              <p:tags r:id="rId1"/>
            </p:custDataLst>
            <p:extLst>
              <p:ext uri="{D42A27DB-BD31-4B8C-83A1-F6EECF244321}">
                <p14:modId xmlns:p14="http://schemas.microsoft.com/office/powerpoint/2010/main" val="4199143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9EF37A4-B44F-4C89-A073-242167466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20-06-2024</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54835265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83CFD-9F74-4EF8-975F-FD81488A8E17}"/>
              </a:ext>
            </a:extLst>
          </p:cNvPr>
          <p:cNvGraphicFramePr>
            <a:graphicFrameLocks noChangeAspect="1"/>
          </p:cNvGraphicFramePr>
          <p:nvPr userDrawn="1">
            <p:custDataLst>
              <p:tags r:id="rId1"/>
            </p:custDataLst>
            <p:extLst>
              <p:ext uri="{D42A27DB-BD31-4B8C-83A1-F6EECF244321}">
                <p14:modId xmlns:p14="http://schemas.microsoft.com/office/powerpoint/2010/main" val="384047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E83CFD-9F74-4EF8-975F-FD81488A8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20-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28212BF-18A5-4D9F-9F2F-E8FBAAE91B57}"/>
              </a:ext>
            </a:extLst>
          </p:cNvPr>
          <p:cNvGraphicFramePr>
            <a:graphicFrameLocks noChangeAspect="1"/>
          </p:cNvGraphicFramePr>
          <p:nvPr userDrawn="1">
            <p:custDataLst>
              <p:tags r:id="rId1"/>
            </p:custDataLst>
            <p:extLst>
              <p:ext uri="{D42A27DB-BD31-4B8C-83A1-F6EECF244321}">
                <p14:modId xmlns:p14="http://schemas.microsoft.com/office/powerpoint/2010/main" val="1916633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28212BF-18A5-4D9F-9F2F-E8FBAAE91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20-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192639167"/>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434468-572D-4FA6-B8CB-CCC382820344}"/>
              </a:ext>
            </a:extLst>
          </p:cNvPr>
          <p:cNvGraphicFramePr>
            <a:graphicFrameLocks noChangeAspect="1"/>
          </p:cNvGraphicFramePr>
          <p:nvPr userDrawn="1">
            <p:custDataLst>
              <p:tags r:id="rId1"/>
            </p:custDataLst>
            <p:extLst>
              <p:ext uri="{D42A27DB-BD31-4B8C-83A1-F6EECF244321}">
                <p14:modId xmlns:p14="http://schemas.microsoft.com/office/powerpoint/2010/main" val="14157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5434468-572D-4FA6-B8CB-CCC382820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20-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195743645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18C53D-E677-40EE-86B6-983CF3FD7F9D}"/>
              </a:ext>
            </a:extLst>
          </p:cNvPr>
          <p:cNvGraphicFramePr>
            <a:graphicFrameLocks noChangeAspect="1"/>
          </p:cNvGraphicFramePr>
          <p:nvPr userDrawn="1">
            <p:custDataLst>
              <p:tags r:id="rId1"/>
            </p:custDataLst>
            <p:extLst>
              <p:ext uri="{D42A27DB-BD31-4B8C-83A1-F6EECF244321}">
                <p14:modId xmlns:p14="http://schemas.microsoft.com/office/powerpoint/2010/main" val="2659025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EF18C53D-E677-40EE-86B6-983CF3FD7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20-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74571785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B16CCA-52A6-4838-8AB3-3C27A8B4A198}"/>
              </a:ext>
            </a:extLst>
          </p:cNvPr>
          <p:cNvGraphicFramePr>
            <a:graphicFrameLocks noChangeAspect="1"/>
          </p:cNvGraphicFramePr>
          <p:nvPr userDrawn="1">
            <p:custDataLst>
              <p:tags r:id="rId1"/>
            </p:custDataLst>
            <p:extLst>
              <p:ext uri="{D42A27DB-BD31-4B8C-83A1-F6EECF244321}">
                <p14:modId xmlns:p14="http://schemas.microsoft.com/office/powerpoint/2010/main" val="298815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6B16CCA-52A6-4838-8AB3-3C27A8B4A1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20-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82504136"/>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FA7D48-E59B-4B43-ABFB-2EB79E90E58B}"/>
              </a:ext>
            </a:extLst>
          </p:cNvPr>
          <p:cNvGraphicFramePr>
            <a:graphicFrameLocks noChangeAspect="1"/>
          </p:cNvGraphicFramePr>
          <p:nvPr userDrawn="1">
            <p:custDataLst>
              <p:tags r:id="rId1"/>
            </p:custDataLst>
            <p:extLst>
              <p:ext uri="{D42A27DB-BD31-4B8C-83A1-F6EECF244321}">
                <p14:modId xmlns:p14="http://schemas.microsoft.com/office/powerpoint/2010/main" val="1853528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FA7D48-E59B-4B43-ABFB-2EB79E90E5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20-06-2024</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54939063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5E9166-697A-4756-9084-4D43AA6266AC}"/>
              </a:ext>
            </a:extLst>
          </p:cNvPr>
          <p:cNvGraphicFramePr>
            <a:graphicFrameLocks noChangeAspect="1"/>
          </p:cNvGraphicFramePr>
          <p:nvPr userDrawn="1">
            <p:custDataLst>
              <p:tags r:id="rId1"/>
            </p:custDataLst>
            <p:extLst>
              <p:ext uri="{D42A27DB-BD31-4B8C-83A1-F6EECF244321}">
                <p14:modId xmlns:p14="http://schemas.microsoft.com/office/powerpoint/2010/main" val="2037424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25E9166-697A-4756-9084-4D43AA6266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20-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58088203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A4339A-E44E-4EA2-8821-B9FBBFDDE819}"/>
              </a:ext>
            </a:extLst>
          </p:cNvPr>
          <p:cNvGraphicFramePr>
            <a:graphicFrameLocks noChangeAspect="1"/>
          </p:cNvGraphicFramePr>
          <p:nvPr userDrawn="1">
            <p:custDataLst>
              <p:tags r:id="rId1"/>
            </p:custDataLst>
            <p:extLst>
              <p:ext uri="{D42A27DB-BD31-4B8C-83A1-F6EECF244321}">
                <p14:modId xmlns:p14="http://schemas.microsoft.com/office/powerpoint/2010/main" val="98323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6A4339A-E44E-4EA2-8821-B9FBBFDDE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20-06-2024</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17141661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9F33474-6E8E-4C5B-A4E6-42EC87473E96}"/>
              </a:ext>
            </a:extLst>
          </p:cNvPr>
          <p:cNvGraphicFramePr>
            <a:graphicFrameLocks noChangeAspect="1"/>
          </p:cNvGraphicFramePr>
          <p:nvPr userDrawn="1">
            <p:custDataLst>
              <p:tags r:id="rId1"/>
            </p:custDataLst>
            <p:extLst>
              <p:ext uri="{D42A27DB-BD31-4B8C-83A1-F6EECF244321}">
                <p14:modId xmlns:p14="http://schemas.microsoft.com/office/powerpoint/2010/main" val="260453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9F33474-6E8E-4C5B-A4E6-42EC87473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20-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86701539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557DDF1-B341-4A50-9F0A-CE72A4EDBC28}"/>
              </a:ext>
            </a:extLst>
          </p:cNvPr>
          <p:cNvGraphicFramePr>
            <a:graphicFrameLocks noChangeAspect="1"/>
          </p:cNvGraphicFramePr>
          <p:nvPr userDrawn="1">
            <p:custDataLst>
              <p:tags r:id="rId1"/>
            </p:custDataLst>
            <p:extLst>
              <p:ext uri="{D42A27DB-BD31-4B8C-83A1-F6EECF244321}">
                <p14:modId xmlns:p14="http://schemas.microsoft.com/office/powerpoint/2010/main" val="2352957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557DDF1-B341-4A50-9F0A-CE72A4EDBC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20-06-2024</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49236725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51A2E8-EAA6-46ED-9053-DD5D6AD76EF7}"/>
              </a:ext>
            </a:extLst>
          </p:cNvPr>
          <p:cNvGraphicFramePr>
            <a:graphicFrameLocks noChangeAspect="1"/>
          </p:cNvGraphicFramePr>
          <p:nvPr userDrawn="1">
            <p:custDataLst>
              <p:tags r:id="rId1"/>
            </p:custDataLst>
            <p:extLst>
              <p:ext uri="{D42A27DB-BD31-4B8C-83A1-F6EECF244321}">
                <p14:modId xmlns:p14="http://schemas.microsoft.com/office/powerpoint/2010/main" val="19148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F51A2E8-EAA6-46ED-9053-DD5D6AD76E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20-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7120085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B3AC83-153D-43B4-BBB3-9DC474C78DBD}"/>
              </a:ext>
            </a:extLst>
          </p:cNvPr>
          <p:cNvGraphicFramePr>
            <a:graphicFrameLocks noChangeAspect="1"/>
          </p:cNvGraphicFramePr>
          <p:nvPr userDrawn="1">
            <p:custDataLst>
              <p:tags r:id="rId1"/>
            </p:custDataLst>
            <p:extLst>
              <p:ext uri="{D42A27DB-BD31-4B8C-83A1-F6EECF244321}">
                <p14:modId xmlns:p14="http://schemas.microsoft.com/office/powerpoint/2010/main" val="277952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EB3AC83-153D-43B4-BBB3-9DC474C78D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20-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AE60287-0DD4-4D01-A53A-5899BF340758}"/>
              </a:ext>
            </a:extLst>
          </p:cNvPr>
          <p:cNvGraphicFramePr>
            <a:graphicFrameLocks noChangeAspect="1"/>
          </p:cNvGraphicFramePr>
          <p:nvPr userDrawn="1">
            <p:custDataLst>
              <p:tags r:id="rId1"/>
            </p:custDataLst>
            <p:extLst>
              <p:ext uri="{D42A27DB-BD31-4B8C-83A1-F6EECF244321}">
                <p14:modId xmlns:p14="http://schemas.microsoft.com/office/powerpoint/2010/main" val="132040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BAE60287-0DD4-4D01-A53A-5899BF3407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20-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90430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FDAE5E-5EB6-4945-AF41-2EC218E4C572}"/>
              </a:ext>
            </a:extLst>
          </p:cNvPr>
          <p:cNvGraphicFramePr>
            <a:graphicFrameLocks noChangeAspect="1"/>
          </p:cNvGraphicFramePr>
          <p:nvPr userDrawn="1">
            <p:custDataLst>
              <p:tags r:id="rId1"/>
            </p:custDataLst>
            <p:extLst>
              <p:ext uri="{D42A27DB-BD31-4B8C-83A1-F6EECF244321}">
                <p14:modId xmlns:p14="http://schemas.microsoft.com/office/powerpoint/2010/main" val="627160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1FDAE5E-5EB6-4945-AF41-2EC218E4C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20-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877688799"/>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DC1A67D-15B4-4A31-BCD6-E4373097286D}"/>
              </a:ext>
            </a:extLst>
          </p:cNvPr>
          <p:cNvGraphicFramePr>
            <a:graphicFrameLocks noChangeAspect="1"/>
          </p:cNvGraphicFramePr>
          <p:nvPr userDrawn="1">
            <p:custDataLst>
              <p:tags r:id="rId1"/>
            </p:custDataLst>
            <p:extLst>
              <p:ext uri="{D42A27DB-BD31-4B8C-83A1-F6EECF244321}">
                <p14:modId xmlns:p14="http://schemas.microsoft.com/office/powerpoint/2010/main" val="3053914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DC1A67D-15B4-4A31-BCD6-E437309728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20-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48608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F09C2E-31C1-4F9B-9740-71B6014FE194}"/>
              </a:ext>
            </a:extLst>
          </p:cNvPr>
          <p:cNvGraphicFramePr>
            <a:graphicFrameLocks noChangeAspect="1"/>
          </p:cNvGraphicFramePr>
          <p:nvPr userDrawn="1">
            <p:custDataLst>
              <p:tags r:id="rId1"/>
            </p:custDataLst>
            <p:extLst>
              <p:ext uri="{D42A27DB-BD31-4B8C-83A1-F6EECF244321}">
                <p14:modId xmlns:p14="http://schemas.microsoft.com/office/powerpoint/2010/main" val="259520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4BF09C2E-31C1-4F9B-9740-71B6014FE1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20-06-2024</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224790183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8FEC5D-208A-45E5-B6AE-C5854E801034}"/>
              </a:ext>
            </a:extLst>
          </p:cNvPr>
          <p:cNvGraphicFramePr>
            <a:graphicFrameLocks noChangeAspect="1"/>
          </p:cNvGraphicFramePr>
          <p:nvPr userDrawn="1">
            <p:custDataLst>
              <p:tags r:id="rId1"/>
            </p:custDataLst>
            <p:extLst>
              <p:ext uri="{D42A27DB-BD31-4B8C-83A1-F6EECF244321}">
                <p14:modId xmlns:p14="http://schemas.microsoft.com/office/powerpoint/2010/main" val="189040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18FEC5D-208A-45E5-B6AE-C5854E8010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20-06-2024</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630868409"/>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42EF20-83FC-47CD-9A6B-22CA8EBF2AB1}"/>
              </a:ext>
            </a:extLst>
          </p:cNvPr>
          <p:cNvGraphicFramePr>
            <a:graphicFrameLocks noChangeAspect="1"/>
          </p:cNvGraphicFramePr>
          <p:nvPr userDrawn="1">
            <p:custDataLst>
              <p:tags r:id="rId1"/>
            </p:custDataLst>
            <p:extLst>
              <p:ext uri="{D42A27DB-BD31-4B8C-83A1-F6EECF244321}">
                <p14:modId xmlns:p14="http://schemas.microsoft.com/office/powerpoint/2010/main" val="274699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242EF20-83FC-47CD-9A6B-22CA8EBF2A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20-06-2024</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4138849815"/>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740DD9-43CE-4C3E-97A1-ADF13214434B}"/>
              </a:ext>
            </a:extLst>
          </p:cNvPr>
          <p:cNvGraphicFramePr>
            <a:graphicFrameLocks noChangeAspect="1"/>
          </p:cNvGraphicFramePr>
          <p:nvPr userDrawn="1">
            <p:custDataLst>
              <p:tags r:id="rId1"/>
            </p:custDataLst>
            <p:extLst>
              <p:ext uri="{D42A27DB-BD31-4B8C-83A1-F6EECF244321}">
                <p14:modId xmlns:p14="http://schemas.microsoft.com/office/powerpoint/2010/main" val="133398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8740DD9-43CE-4C3E-97A1-ADF1321443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20-06-2024</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683894057"/>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F2636-3EAA-407B-9D55-00604C9AAD76}"/>
              </a:ext>
            </a:extLst>
          </p:cNvPr>
          <p:cNvGraphicFramePr>
            <a:graphicFrameLocks noChangeAspect="1"/>
          </p:cNvGraphicFramePr>
          <p:nvPr userDrawn="1">
            <p:custDataLst>
              <p:tags r:id="rId1"/>
            </p:custDataLst>
            <p:extLst>
              <p:ext uri="{D42A27DB-BD31-4B8C-83A1-F6EECF244321}">
                <p14:modId xmlns:p14="http://schemas.microsoft.com/office/powerpoint/2010/main" val="325217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92F2636-3EAA-407B-9D55-00604C9AAD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20-06-2024</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27282484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56E38-FDDE-433A-BAF6-AC8D12AFC6FC}"/>
              </a:ext>
            </a:extLst>
          </p:cNvPr>
          <p:cNvGraphicFramePr>
            <a:graphicFrameLocks noChangeAspect="1"/>
          </p:cNvGraphicFramePr>
          <p:nvPr userDrawn="1">
            <p:custDataLst>
              <p:tags r:id="rId1"/>
            </p:custDataLst>
            <p:extLst>
              <p:ext uri="{D42A27DB-BD31-4B8C-83A1-F6EECF244321}">
                <p14:modId xmlns:p14="http://schemas.microsoft.com/office/powerpoint/2010/main" val="377707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A1A56E38-FDDE-433A-BAF6-AC8D12AFC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20-06-2024</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70609992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A58D2D-009C-477A-A7E8-6CBFB3E4C3BD}"/>
              </a:ext>
            </a:extLst>
          </p:cNvPr>
          <p:cNvGraphicFramePr>
            <a:graphicFrameLocks noChangeAspect="1"/>
          </p:cNvGraphicFramePr>
          <p:nvPr userDrawn="1">
            <p:custDataLst>
              <p:tags r:id="rId1"/>
            </p:custDataLst>
            <p:extLst>
              <p:ext uri="{D42A27DB-BD31-4B8C-83A1-F6EECF244321}">
                <p14:modId xmlns:p14="http://schemas.microsoft.com/office/powerpoint/2010/main" val="791056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A58D2D-009C-477A-A7E8-6CBFB3E4C3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20-06-2024</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8758625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EFBBF1-C009-481F-880D-B72DF8BA5B5C}"/>
              </a:ext>
            </a:extLst>
          </p:cNvPr>
          <p:cNvGraphicFramePr>
            <a:graphicFrameLocks noChangeAspect="1"/>
          </p:cNvGraphicFramePr>
          <p:nvPr userDrawn="1">
            <p:custDataLst>
              <p:tags r:id="rId1"/>
            </p:custDataLst>
            <p:extLst>
              <p:ext uri="{D42A27DB-BD31-4B8C-83A1-F6EECF244321}">
                <p14:modId xmlns:p14="http://schemas.microsoft.com/office/powerpoint/2010/main" val="362266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E1EFBBF1-C009-481F-880D-B72DF8BA5B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20-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BFD55A-4F3D-4A85-8475-178D9DF5C530}"/>
              </a:ext>
            </a:extLst>
          </p:cNvPr>
          <p:cNvGraphicFramePr>
            <a:graphicFrameLocks noChangeAspect="1"/>
          </p:cNvGraphicFramePr>
          <p:nvPr userDrawn="1">
            <p:custDataLst>
              <p:tags r:id="rId1"/>
            </p:custDataLst>
            <p:extLst>
              <p:ext uri="{D42A27DB-BD31-4B8C-83A1-F6EECF244321}">
                <p14:modId xmlns:p14="http://schemas.microsoft.com/office/powerpoint/2010/main" val="336243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DBFD55A-4F3D-4A85-8475-178D9DF5C5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20-06-2024</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68513201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670840-F4BC-4F38-8592-0661A8253093}"/>
              </a:ext>
            </a:extLst>
          </p:cNvPr>
          <p:cNvGraphicFramePr>
            <a:graphicFrameLocks noChangeAspect="1"/>
          </p:cNvGraphicFramePr>
          <p:nvPr userDrawn="1">
            <p:custDataLst>
              <p:tags r:id="rId1"/>
            </p:custDataLst>
            <p:extLst>
              <p:ext uri="{D42A27DB-BD31-4B8C-83A1-F6EECF244321}">
                <p14:modId xmlns:p14="http://schemas.microsoft.com/office/powerpoint/2010/main" val="259485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FE670840-F4BC-4F38-8592-0661A82530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20-06-2024</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34313590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0B381F-A21F-43A5-AF52-1A2745AC1B2D}"/>
              </a:ext>
            </a:extLst>
          </p:cNvPr>
          <p:cNvGraphicFramePr>
            <a:graphicFrameLocks noChangeAspect="1"/>
          </p:cNvGraphicFramePr>
          <p:nvPr userDrawn="1">
            <p:custDataLst>
              <p:tags r:id="rId1"/>
            </p:custDataLst>
            <p:extLst>
              <p:ext uri="{D42A27DB-BD31-4B8C-83A1-F6EECF244321}">
                <p14:modId xmlns:p14="http://schemas.microsoft.com/office/powerpoint/2010/main" val="23696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D0B381F-A21F-43A5-AF52-1A2745AC1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20-06-2024</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424663890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53B51C-6617-44DF-A9BD-BD3480363F5B}"/>
              </a:ext>
            </a:extLst>
          </p:cNvPr>
          <p:cNvGraphicFramePr>
            <a:graphicFrameLocks noChangeAspect="1"/>
          </p:cNvGraphicFramePr>
          <p:nvPr userDrawn="1">
            <p:custDataLst>
              <p:tags r:id="rId1"/>
            </p:custDataLst>
            <p:extLst>
              <p:ext uri="{D42A27DB-BD31-4B8C-83A1-F6EECF244321}">
                <p14:modId xmlns:p14="http://schemas.microsoft.com/office/powerpoint/2010/main" val="28439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FE53B51C-6617-44DF-A9BD-BD3480363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20-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788823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DCC80B-CA1B-42C1-925B-B49AB5DE3F9F}"/>
              </a:ext>
            </a:extLst>
          </p:cNvPr>
          <p:cNvGraphicFramePr>
            <a:graphicFrameLocks noChangeAspect="1"/>
          </p:cNvGraphicFramePr>
          <p:nvPr userDrawn="1">
            <p:custDataLst>
              <p:tags r:id="rId1"/>
            </p:custDataLst>
            <p:extLst>
              <p:ext uri="{D42A27DB-BD31-4B8C-83A1-F6EECF244321}">
                <p14:modId xmlns:p14="http://schemas.microsoft.com/office/powerpoint/2010/main" val="1439938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4DCC80B-CA1B-42C1-925B-B49AB5DE3F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20-06-2024</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63892964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3FE8520-24A3-48D5-A339-BF98E17D9B81}"/>
              </a:ext>
            </a:extLst>
          </p:cNvPr>
          <p:cNvGraphicFramePr>
            <a:graphicFrameLocks noChangeAspect="1"/>
          </p:cNvGraphicFramePr>
          <p:nvPr userDrawn="1">
            <p:custDataLst>
              <p:tags r:id="rId1"/>
            </p:custDataLst>
            <p:extLst>
              <p:ext uri="{D42A27DB-BD31-4B8C-83A1-F6EECF244321}">
                <p14:modId xmlns:p14="http://schemas.microsoft.com/office/powerpoint/2010/main" val="231924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3FE8520-24A3-48D5-A339-BF98E17D9B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20-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259937643"/>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F232F3-17CC-4766-B05D-DCD55CD707FA}"/>
              </a:ext>
            </a:extLst>
          </p:cNvPr>
          <p:cNvGraphicFramePr>
            <a:graphicFrameLocks noChangeAspect="1"/>
          </p:cNvGraphicFramePr>
          <p:nvPr userDrawn="1">
            <p:custDataLst>
              <p:tags r:id="rId1"/>
            </p:custDataLst>
            <p:extLst>
              <p:ext uri="{D42A27DB-BD31-4B8C-83A1-F6EECF244321}">
                <p14:modId xmlns:p14="http://schemas.microsoft.com/office/powerpoint/2010/main" val="1196212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8F232F3-17CC-4766-B05D-DCD55CD707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20-06-2024</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993582613"/>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CD2189-9650-477A-85BC-7A51E3A993E7}"/>
              </a:ext>
            </a:extLst>
          </p:cNvPr>
          <p:cNvGraphicFramePr>
            <a:graphicFrameLocks noChangeAspect="1"/>
          </p:cNvGraphicFramePr>
          <p:nvPr userDrawn="1">
            <p:custDataLst>
              <p:tags r:id="rId1"/>
            </p:custDataLst>
            <p:extLst>
              <p:ext uri="{D42A27DB-BD31-4B8C-83A1-F6EECF244321}">
                <p14:modId xmlns:p14="http://schemas.microsoft.com/office/powerpoint/2010/main" val="183900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A0CD2189-9650-477A-85BC-7A51E3A993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20-06-2024</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25274109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F2A449F-63F0-4261-AFD8-ACCA8BD05C33}"/>
              </a:ext>
            </a:extLst>
          </p:cNvPr>
          <p:cNvGraphicFramePr>
            <a:graphicFrameLocks noChangeAspect="1"/>
          </p:cNvGraphicFramePr>
          <p:nvPr userDrawn="1">
            <p:custDataLst>
              <p:tags r:id="rId1"/>
            </p:custDataLst>
            <p:extLst>
              <p:ext uri="{D42A27DB-BD31-4B8C-83A1-F6EECF244321}">
                <p14:modId xmlns:p14="http://schemas.microsoft.com/office/powerpoint/2010/main" val="643237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CF2A449F-63F0-4261-AFD8-ACCA8BD05C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20-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spTree>
    <p:extLst>
      <p:ext uri="{BB962C8B-B14F-4D97-AF65-F5344CB8AC3E}">
        <p14:creationId xmlns:p14="http://schemas.microsoft.com/office/powerpoint/2010/main" val="969793231"/>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AF7C25-4370-4339-B323-813EDFF5383A}"/>
              </a:ext>
            </a:extLst>
          </p:cNvPr>
          <p:cNvGraphicFramePr>
            <a:graphicFrameLocks noChangeAspect="1"/>
          </p:cNvGraphicFramePr>
          <p:nvPr userDrawn="1">
            <p:custDataLst>
              <p:tags r:id="rId1"/>
            </p:custDataLst>
            <p:extLst>
              <p:ext uri="{D42A27DB-BD31-4B8C-83A1-F6EECF244321}">
                <p14:modId xmlns:p14="http://schemas.microsoft.com/office/powerpoint/2010/main" val="184906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9AF7C25-4370-4339-B323-813EDFF538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tx1"/>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tx1"/>
                </a:solidFill>
              </a:defRPr>
            </a:lvl1pPr>
          </a:lstStyle>
          <a:p>
            <a:fld id="{F24941B2-5F7F-4165-B2DE-D010B7A4A5F5}" type="datetime1">
              <a:rPr lang="da-DK" smtClean="0"/>
              <a:pPr/>
              <a:t>20-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tx1"/>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tx1"/>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4030931373"/>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image" Target="../media/image1.emf"/><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oleObject" Target="../embeddings/oleObject57.bin"/><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tags" Target="../tags/tag58.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theme" Target="../theme/theme2.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3"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slideLayout" Target="../slideLayouts/slideLayout149.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oleObject" Target="../embeddings/oleObject113.bin"/><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41" Type="http://schemas.openxmlformats.org/officeDocument/2006/relationships/tags" Target="../tags/tag114.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theme" Target="../theme/theme3.xml"/><Relationship Id="rId45" Type="http://schemas.openxmlformats.org/officeDocument/2006/relationships/image" Target="../media/image21.png"/><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4" Type="http://schemas.openxmlformats.org/officeDocument/2006/relationships/image" Target="../media/image20.png"/><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 Id="rId43" Type="http://schemas.openxmlformats.org/officeDocument/2006/relationships/image" Target="../media/image19.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9" Type="http://schemas.openxmlformats.org/officeDocument/2006/relationships/slideLayout" Target="../slideLayouts/slideLayout188.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34" Type="http://schemas.openxmlformats.org/officeDocument/2006/relationships/slideLayout" Target="../slideLayouts/slideLayout183.xml"/><Relationship Id="rId42" Type="http://schemas.openxmlformats.org/officeDocument/2006/relationships/image" Target="../media/image21.png"/><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33" Type="http://schemas.openxmlformats.org/officeDocument/2006/relationships/slideLayout" Target="../slideLayouts/slideLayout182.xml"/><Relationship Id="rId38" Type="http://schemas.openxmlformats.org/officeDocument/2006/relationships/slideLayout" Target="../slideLayouts/slideLayout187.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29" Type="http://schemas.openxmlformats.org/officeDocument/2006/relationships/slideLayout" Target="../slideLayouts/slideLayout178.xml"/><Relationship Id="rId41" Type="http://schemas.openxmlformats.org/officeDocument/2006/relationships/image" Target="../media/image20.png"/><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slideLayout" Target="../slideLayouts/slideLayout181.xml"/><Relationship Id="rId37" Type="http://schemas.openxmlformats.org/officeDocument/2006/relationships/slideLayout" Target="../slideLayouts/slideLayout186.xml"/><Relationship Id="rId40" Type="http://schemas.openxmlformats.org/officeDocument/2006/relationships/theme" Target="../theme/theme4.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36" Type="http://schemas.openxmlformats.org/officeDocument/2006/relationships/slideLayout" Target="../slideLayouts/slideLayout185.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slideLayout" Target="../slideLayouts/slideLayout180.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 Id="rId35" Type="http://schemas.openxmlformats.org/officeDocument/2006/relationships/slideLayout" Target="../slideLayouts/slideLayout1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5A3CF6-4343-4A8B-9C19-D343D6B48BAA}"/>
              </a:ext>
            </a:extLst>
          </p:cNvPr>
          <p:cNvGraphicFramePr>
            <a:graphicFrameLocks noChangeAspect="1"/>
          </p:cNvGraphicFramePr>
          <p:nvPr userDrawn="1">
            <p:custDataLst>
              <p:tags r:id="rId57"/>
            </p:custDataLst>
            <p:extLst>
              <p:ext uri="{D42A27DB-BD31-4B8C-83A1-F6EECF244321}">
                <p14:modId xmlns:p14="http://schemas.microsoft.com/office/powerpoint/2010/main" val="2721697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445A3CF6-4343-4A8B-9C19-D343D6B48BA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20-06-2024</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3" userDrawn="1">
          <p15:clr>
            <a:srgbClr val="A4A3A4"/>
          </p15:clr>
        </p15:guide>
        <p15:guide id="18" pos="4347" userDrawn="1">
          <p15:clr>
            <a:srgbClr val="A4A3A4"/>
          </p15:clr>
        </p15:guide>
        <p15:guide id="19" pos="4574" userDrawn="1">
          <p15:clr>
            <a:srgbClr val="A4A3A4"/>
          </p15:clr>
        </p15:guide>
        <p15:guide id="20" pos="4968" userDrawn="1">
          <p15:clr>
            <a:srgbClr val="A4A3A4"/>
          </p15:clr>
        </p15:guide>
        <p15:guide id="21" pos="5195" userDrawn="1">
          <p15:clr>
            <a:srgbClr val="A4A3A4"/>
          </p15:clr>
        </p15:guide>
        <p15:guide id="22" pos="5589" userDrawn="1">
          <p15:clr>
            <a:srgbClr val="A4A3A4"/>
          </p15:clr>
        </p15:guide>
        <p15:guide id="23" pos="5816" userDrawn="1">
          <p15:clr>
            <a:srgbClr val="A4A3A4"/>
          </p15:clr>
        </p15:guide>
        <p15:guide id="24" pos="6211" userDrawn="1">
          <p15:clr>
            <a:srgbClr val="A4A3A4"/>
          </p15:clr>
        </p15:guide>
        <p15:guide id="25" pos="6437" userDrawn="1">
          <p15:clr>
            <a:srgbClr val="A4A3A4"/>
          </p15:clr>
        </p15:guide>
        <p15:guide id="26" pos="6832" userDrawn="1">
          <p15:clr>
            <a:srgbClr val="A4A3A4"/>
          </p15:clr>
        </p15:guide>
        <p15:guide id="27" pos="7058" userDrawn="1">
          <p15:clr>
            <a:srgbClr val="A4A3A4"/>
          </p15:clr>
        </p15:guide>
        <p15:guide id="28" orient="horz" pos="38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AE5F9C-F329-47C6-8F94-5BCE2A7C40CE}"/>
              </a:ext>
            </a:extLst>
          </p:cNvPr>
          <p:cNvGraphicFramePr>
            <a:graphicFrameLocks noChangeAspect="1"/>
          </p:cNvGraphicFramePr>
          <p:nvPr userDrawn="1">
            <p:custDataLst>
              <p:tags r:id="rId57"/>
            </p:custDataLst>
            <p:extLst>
              <p:ext uri="{D42A27DB-BD31-4B8C-83A1-F6EECF244321}">
                <p14:modId xmlns:p14="http://schemas.microsoft.com/office/powerpoint/2010/main" val="1952553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F9AE5F9C-F329-47C6-8F94-5BCE2A7C40CE}"/>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20-06-2024</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4388508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3D7883-BAB6-1EFB-E8BF-1D07D695CD02}"/>
              </a:ext>
            </a:extLst>
          </p:cNvPr>
          <p:cNvGraphicFramePr>
            <a:graphicFrameLocks noChangeAspect="1"/>
          </p:cNvGraphicFramePr>
          <p:nvPr userDrawn="1">
            <p:custDataLst>
              <p:tags r:id="rId41"/>
            </p:custDataLst>
            <p:extLst>
              <p:ext uri="{D42A27DB-BD31-4B8C-83A1-F6EECF244321}">
                <p14:modId xmlns:p14="http://schemas.microsoft.com/office/powerpoint/2010/main" val="210353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622" imgH="623" progId="TCLayout.ActiveDocument.1">
                  <p:embed/>
                </p:oleObj>
              </mc:Choice>
              <mc:Fallback>
                <p:oleObj name="think-cell Slide" r:id="rId42" imgW="622" imgH="623" progId="TCLayout.ActiveDocument.1">
                  <p:embed/>
                  <p:pic>
                    <p:nvPicPr>
                      <p:cNvPr id="4" name="think-cell data - do not delete" hidden="1">
                        <a:extLst>
                          <a:ext uri="{FF2B5EF4-FFF2-40B4-BE49-F238E27FC236}">
                            <a16:creationId xmlns:a16="http://schemas.microsoft.com/office/drawing/2014/main" id="{2D3D7883-BAB6-1EFB-E8BF-1D07D695CD02}"/>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auto">
          <a:xfrm>
            <a:off x="798618" y="312768"/>
            <a:ext cx="10590003" cy="748626"/>
          </a:xfrm>
          <a:prstGeom prst="rect">
            <a:avLst/>
          </a:prstGeom>
          <a:noFill/>
          <a:ln w="9525">
            <a:noFill/>
            <a:miter lim="800000"/>
            <a:headEnd/>
            <a:tailEnd/>
          </a:ln>
        </p:spPr>
        <p:txBody>
          <a:bodyPr vert="horz" wrap="square" lIns="0" tIns="18000" rIns="0" bIns="0" numCol="1" anchor="t" anchorCtr="0" compatLnSpc="1">
            <a:prstTxWarp prst="textNoShape">
              <a:avLst/>
            </a:prstTxWarp>
            <a:noAutofit/>
          </a:bodyPr>
          <a:lstStyle/>
          <a:p>
            <a:pPr lvl="0"/>
            <a:r>
              <a:rPr lang="en-GB" noProof="0"/>
              <a:t>Presentation title</a:t>
            </a:r>
            <a:br>
              <a:rPr lang="en-GB" noProof="0"/>
            </a:br>
            <a:r>
              <a:rPr lang="en-GB" noProof="0"/>
              <a:t>(in cyan)</a:t>
            </a:r>
          </a:p>
        </p:txBody>
      </p:sp>
      <p:sp>
        <p:nvSpPr>
          <p:cNvPr id="6" name="Slide Number Placeholder 5"/>
          <p:cNvSpPr>
            <a:spLocks noGrp="1"/>
          </p:cNvSpPr>
          <p:nvPr>
            <p:ph type="sldNum" sz="quarter" idx="4"/>
          </p:nvPr>
        </p:nvSpPr>
        <p:spPr>
          <a:xfrm>
            <a:off x="10908620" y="6280547"/>
            <a:ext cx="480001" cy="155575"/>
          </a:xfrm>
          <a:prstGeom prst="rect">
            <a:avLst/>
          </a:prstGeom>
        </p:spPr>
        <p:txBody>
          <a:bodyPr vert="horz" wrap="square" lIns="0" tIns="0" rIns="0" bIns="0" numCol="1" anchor="ctr" anchorCtr="0" compatLnSpc="1">
            <a:prstTxWarp prst="textNoShape">
              <a:avLst/>
            </a:prstTxWarp>
          </a:bodyPr>
          <a:lstStyle>
            <a:lvl1pPr algn="r">
              <a:defRPr sz="257" b="0" baseline="0"/>
            </a:lvl1pPr>
          </a:lstStyle>
          <a:p>
            <a:fld id="{31421AFA-3AE7-4CEA-BC9B-447859BED57B}" type="slidenum">
              <a:rPr lang="en-GB" smtClean="0"/>
              <a:pPr/>
              <a:t>‹#›</a:t>
            </a:fld>
            <a:endParaRPr lang="en-GB"/>
          </a:p>
        </p:txBody>
      </p:sp>
      <p:sp>
        <p:nvSpPr>
          <p:cNvPr id="1031" name="Rectangle 7"/>
          <p:cNvSpPr>
            <a:spLocks noGrp="1" noChangeArrowheads="1"/>
          </p:cNvSpPr>
          <p:nvPr>
            <p:ph type="body" idx="1"/>
          </p:nvPr>
        </p:nvSpPr>
        <p:spPr bwMode="auto">
          <a:xfrm>
            <a:off x="798617" y="1647827"/>
            <a:ext cx="10590003" cy="405923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4 No bullet text 18</a:t>
            </a:r>
          </a:p>
          <a:p>
            <a:pPr lvl="4"/>
            <a:r>
              <a:rPr lang="en-GB" noProof="0"/>
              <a:t>5 </a:t>
            </a:r>
            <a:r>
              <a:rPr lang="en-GB" noProof="0" err="1"/>
              <a:t>Megaheader</a:t>
            </a:r>
            <a:r>
              <a:rPr lang="en-GB" noProof="0"/>
              <a:t> caps 48</a:t>
            </a:r>
          </a:p>
          <a:p>
            <a:pPr lvl="5"/>
            <a:r>
              <a:rPr lang="en-GB" noProof="0"/>
              <a:t>6 Header caps 18</a:t>
            </a:r>
          </a:p>
          <a:p>
            <a:pPr lvl="6"/>
            <a:r>
              <a:rPr lang="en-GB" noProof="0"/>
              <a:t>7 Text 18</a:t>
            </a:r>
          </a:p>
          <a:p>
            <a:pPr lvl="7"/>
            <a:r>
              <a:rPr lang="en-GB" noProof="0"/>
              <a:t>8 Number 16</a:t>
            </a:r>
          </a:p>
          <a:p>
            <a:pPr lvl="8"/>
            <a:r>
              <a:rPr lang="en-GB" noProof="0"/>
              <a:t>9 Letter 16</a:t>
            </a:r>
          </a:p>
          <a:p>
            <a:pPr lvl="8"/>
            <a:endParaRPr lang="en-GB" noProof="0"/>
          </a:p>
        </p:txBody>
      </p:sp>
      <p:sp>
        <p:nvSpPr>
          <p:cNvPr id="5" name="Footer Placeholder 4">
            <a:extLst>
              <a:ext uri="{FF2B5EF4-FFF2-40B4-BE49-F238E27FC236}">
                <a16:creationId xmlns:a16="http://schemas.microsoft.com/office/drawing/2014/main" id="{1D9E4955-7821-481C-9AF7-C7D93767559E}"/>
              </a:ext>
            </a:extLst>
          </p:cNvPr>
          <p:cNvSpPr>
            <a:spLocks noGrp="1"/>
          </p:cNvSpPr>
          <p:nvPr>
            <p:ph type="ftr" sz="quarter" idx="3"/>
          </p:nvPr>
        </p:nvSpPr>
        <p:spPr>
          <a:xfrm>
            <a:off x="4056591" y="6280502"/>
            <a:ext cx="6515949"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0" name="Date_DateCustomA">
            <a:extLst>
              <a:ext uri="{FF2B5EF4-FFF2-40B4-BE49-F238E27FC236}">
                <a16:creationId xmlns:a16="http://schemas.microsoft.com/office/drawing/2014/main" id="{ADC3E656-DC3F-4718-B1B2-E5B4B66615C6}"/>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E8A079D-0F01-4087-8466-404AA9697848}" type="datetime1">
              <a:rPr lang="da-DK" smtClean="0"/>
              <a:t>20-06-2024</a:t>
            </a:fld>
            <a:endParaRPr lang="da-DK"/>
          </a:p>
        </p:txBody>
      </p:sp>
      <p:grpSp>
        <p:nvGrpSpPr>
          <p:cNvPr id="7" name="Group 6">
            <a:extLst>
              <a:ext uri="{FF2B5EF4-FFF2-40B4-BE49-F238E27FC236}">
                <a16:creationId xmlns:a16="http://schemas.microsoft.com/office/drawing/2014/main" id="{A135459E-96A0-4D48-B1D9-A034EE07E024}"/>
              </a:ext>
            </a:extLst>
          </p:cNvPr>
          <p:cNvGrpSpPr/>
          <p:nvPr userDrawn="1"/>
        </p:nvGrpSpPr>
        <p:grpSpPr>
          <a:xfrm>
            <a:off x="-1972350" y="1633992"/>
            <a:ext cx="1797025" cy="2906915"/>
            <a:chOff x="-1899137" y="-1"/>
            <a:chExt cx="1796791" cy="2907588"/>
          </a:xfrm>
        </p:grpSpPr>
        <p:grpSp>
          <p:nvGrpSpPr>
            <p:cNvPr id="11" name="Group 10">
              <a:extLst>
                <a:ext uri="{FF2B5EF4-FFF2-40B4-BE49-F238E27FC236}">
                  <a16:creationId xmlns:a16="http://schemas.microsoft.com/office/drawing/2014/main" id="{7DF113FF-8BE3-4207-A5C6-F4579EED1B78}"/>
                </a:ext>
              </a:extLst>
            </p:cNvPr>
            <p:cNvGrpSpPr/>
            <p:nvPr userDrawn="1"/>
          </p:nvGrpSpPr>
          <p:grpSpPr>
            <a:xfrm>
              <a:off x="-1899137" y="-1"/>
              <a:ext cx="1796791" cy="2907588"/>
              <a:chOff x="9009867" y="1645032"/>
              <a:chExt cx="2365739" cy="3828268"/>
            </a:xfrm>
          </p:grpSpPr>
          <p:pic>
            <p:nvPicPr>
              <p:cNvPr id="12" name="Picture 11">
                <a:extLst>
                  <a:ext uri="{FF2B5EF4-FFF2-40B4-BE49-F238E27FC236}">
                    <a16:creationId xmlns:a16="http://schemas.microsoft.com/office/drawing/2014/main" id="{5359A05F-1860-4448-A740-55E89B668802}"/>
                  </a:ext>
                </a:extLst>
              </p:cNvPr>
              <p:cNvPicPr>
                <a:picLocks noChangeAspect="1"/>
              </p:cNvPicPr>
              <p:nvPr/>
            </p:nvPicPr>
            <p:blipFill>
              <a:blip r:embed="rId44"/>
              <a:stretch>
                <a:fillRect/>
              </a:stretch>
            </p:blipFill>
            <p:spPr>
              <a:xfrm>
                <a:off x="9182748" y="1852126"/>
                <a:ext cx="599367" cy="280555"/>
              </a:xfrm>
              <a:prstGeom prst="rect">
                <a:avLst/>
              </a:prstGeom>
            </p:spPr>
          </p:pic>
          <p:sp>
            <p:nvSpPr>
              <p:cNvPr id="13" name="TextBox 12">
                <a:extLst>
                  <a:ext uri="{FF2B5EF4-FFF2-40B4-BE49-F238E27FC236}">
                    <a16:creationId xmlns:a16="http://schemas.microsoft.com/office/drawing/2014/main" id="{18399B32-2EE3-49AE-80A0-6797B01E89E6}"/>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4" name="Rectangle: Rounded Corners 13">
                <a:extLst>
                  <a:ext uri="{FF2B5EF4-FFF2-40B4-BE49-F238E27FC236}">
                    <a16:creationId xmlns:a16="http://schemas.microsoft.com/office/drawing/2014/main" id="{6A251040-79B2-4E75-B580-29B9D6CC1B9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15" name="Picture 14">
              <a:extLst>
                <a:ext uri="{FF2B5EF4-FFF2-40B4-BE49-F238E27FC236}">
                  <a16:creationId xmlns:a16="http://schemas.microsoft.com/office/drawing/2014/main" id="{225B3411-6214-4AE2-A1EF-BEE63EC00B0E}"/>
                </a:ext>
              </a:extLst>
            </p:cNvPr>
            <p:cNvPicPr>
              <a:picLocks noChangeAspect="1"/>
            </p:cNvPicPr>
            <p:nvPr userDrawn="1"/>
          </p:nvPicPr>
          <p:blipFill>
            <a:blip r:embed="rId45"/>
            <a:stretch>
              <a:fillRect/>
            </a:stretch>
          </p:blipFill>
          <p:spPr>
            <a:xfrm>
              <a:off x="-1884053" y="1200637"/>
              <a:ext cx="1418614" cy="1444137"/>
            </a:xfrm>
            <a:prstGeom prst="rect">
              <a:avLst/>
            </a:prstGeom>
          </p:spPr>
        </p:pic>
      </p:grpSp>
      <p:sp>
        <p:nvSpPr>
          <p:cNvPr id="23" name="Rectangle 22">
            <a:extLst>
              <a:ext uri="{FF2B5EF4-FFF2-40B4-BE49-F238E27FC236}">
                <a16:creationId xmlns:a16="http://schemas.microsoft.com/office/drawing/2014/main" id="{6515BF35-693E-4749-821E-5148CED147C8}"/>
              </a:ext>
            </a:extLst>
          </p:cNvPr>
          <p:cNvSpPr/>
          <p:nvPr userDrawn="1"/>
        </p:nvSpPr>
        <p:spPr>
          <a:xfrm>
            <a:off x="2052092" y="6141510"/>
            <a:ext cx="1573351" cy="2722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77"/>
          </a:p>
        </p:txBody>
      </p:sp>
    </p:spTree>
    <p:extLst>
      <p:ext uri="{BB962C8B-B14F-4D97-AF65-F5344CB8AC3E}">
        <p14:creationId xmlns:p14="http://schemas.microsoft.com/office/powerpoint/2010/main" val="3607171491"/>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796" r:id="rId36"/>
    <p:sldLayoutId id="2147483797" r:id="rId37"/>
    <p:sldLayoutId id="2147483798" r:id="rId38"/>
    <p:sldLayoutId id="2147483799" r:id="rId39"/>
  </p:sldLayoutIdLst>
  <p:hf sldNum="0" hdr="0" ftr="0" dt="0"/>
  <p:txStyles>
    <p:titleStyle>
      <a:lvl1pPr algn="l" defTabSz="146618" rtl="0" eaLnBrk="1" fontAlgn="base" hangingPunct="1">
        <a:spcBef>
          <a:spcPct val="0"/>
        </a:spcBef>
        <a:spcAft>
          <a:spcPct val="0"/>
        </a:spcAft>
        <a:defRPr sz="770" b="1" kern="1200" cap="all" spc="-16" baseline="0">
          <a:solidFill>
            <a:schemeClr val="tx2"/>
          </a:solidFill>
          <a:latin typeface="Verdana"/>
          <a:ea typeface="Verdana" pitchFamily="34" charset="0"/>
          <a:cs typeface="Verdana" pitchFamily="34" charset="0"/>
        </a:defRPr>
      </a:lvl1pPr>
      <a:lvl2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2pPr>
      <a:lvl3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3pPr>
      <a:lvl4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4pPr>
      <a:lvl5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5pPr>
      <a:lvl6pPr marL="146618"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6pPr>
      <a:lvl7pPr marL="293235"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7pPr>
      <a:lvl8pPr marL="439852"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8pPr>
      <a:lvl9pPr marL="586470"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9pPr>
    </p:titleStyle>
    <p:bodyStyle>
      <a:lvl1pPr marL="80815" indent="-80815" algn="l" defTabSz="146618" rtl="0" eaLnBrk="1" fontAlgn="base" hangingPunct="1">
        <a:lnSpc>
          <a:spcPct val="100000"/>
        </a:lnSpc>
        <a:spcBef>
          <a:spcPct val="0"/>
        </a:spcBef>
        <a:spcAft>
          <a:spcPts val="385"/>
        </a:spcAft>
        <a:buFont typeface="Verdana" pitchFamily="34" charset="0"/>
        <a:buChar char="•"/>
        <a:defRPr kern="1200" spc="-16" baseline="0">
          <a:solidFill>
            <a:schemeClr val="tx1"/>
          </a:solidFill>
          <a:latin typeface="Verdana"/>
          <a:ea typeface="Verdana" pitchFamily="34" charset="0"/>
          <a:cs typeface="Verdana" pitchFamily="34" charset="0"/>
        </a:defRPr>
      </a:lvl1pPr>
      <a:lvl2pPr marL="207809" indent="-80815" algn="l" defTabSz="146618" rtl="0" eaLnBrk="1" fontAlgn="base" hangingPunct="1">
        <a:lnSpc>
          <a:spcPct val="100000"/>
        </a:lnSpc>
        <a:spcBef>
          <a:spcPct val="0"/>
        </a:spcBef>
        <a:spcAft>
          <a:spcPts val="385"/>
        </a:spcAft>
        <a:buFont typeface="Verdana" pitchFamily="34" charset="0"/>
        <a:buChar char="•"/>
        <a:defRPr sz="513" kern="1200" spc="-16" baseline="0">
          <a:solidFill>
            <a:schemeClr val="tx1"/>
          </a:solidFill>
          <a:latin typeface="Verdana"/>
          <a:ea typeface="Verdana" pitchFamily="34" charset="0"/>
          <a:cs typeface="+mn-cs"/>
        </a:defRPr>
      </a:lvl2pPr>
      <a:lvl3pPr marL="314023" indent="-80815" algn="l" defTabSz="146618" rtl="0" eaLnBrk="1" fontAlgn="base" hangingPunct="1">
        <a:lnSpc>
          <a:spcPct val="100000"/>
        </a:lnSpc>
        <a:spcBef>
          <a:spcPct val="0"/>
        </a:spcBef>
        <a:spcAft>
          <a:spcPts val="385"/>
        </a:spcAft>
        <a:buFont typeface="Verdana" pitchFamily="34" charset="0"/>
        <a:buChar char="•"/>
        <a:defRPr sz="449" kern="1200" spc="-16" baseline="0">
          <a:solidFill>
            <a:schemeClr val="tx1"/>
          </a:solidFill>
          <a:latin typeface="Verdana"/>
          <a:ea typeface="Verdana" pitchFamily="34" charset="0"/>
          <a:cs typeface="+mn-cs"/>
        </a:defRPr>
      </a:lvl3pPr>
      <a:lvl4pPr marL="0" indent="0" algn="l" defTabSz="146618" rtl="0" eaLnBrk="1" fontAlgn="base" hangingPunct="1">
        <a:lnSpc>
          <a:spcPct val="100000"/>
        </a:lnSpc>
        <a:spcBef>
          <a:spcPct val="0"/>
        </a:spcBef>
        <a:spcAft>
          <a:spcPts val="385"/>
        </a:spcAft>
        <a:buFont typeface="Arial" panose="020B0604020202020204" pitchFamily="34" charset="0"/>
        <a:buChar char="​"/>
        <a:defRPr sz="577" kern="1200" spc="-16" baseline="0">
          <a:solidFill>
            <a:schemeClr val="tx1"/>
          </a:solidFill>
          <a:latin typeface="Verdana"/>
          <a:ea typeface="Verdana" pitchFamily="34" charset="0"/>
          <a:cs typeface="+mn-cs"/>
        </a:defRPr>
      </a:lvl4pPr>
      <a:lvl5pPr marL="0" indent="0" algn="l" defTabSz="146618" rtl="0" eaLnBrk="1" fontAlgn="base" hangingPunct="1">
        <a:lnSpc>
          <a:spcPct val="80000"/>
        </a:lnSpc>
        <a:spcBef>
          <a:spcPct val="0"/>
        </a:spcBef>
        <a:spcAft>
          <a:spcPts val="385"/>
        </a:spcAft>
        <a:buFont typeface="Arial" panose="020B0604020202020204" pitchFamily="34" charset="0"/>
        <a:buChar char="​"/>
        <a:defRPr sz="1539" b="1" kern="1200" cap="all" spc="-32" baseline="0">
          <a:solidFill>
            <a:schemeClr val="tx1"/>
          </a:solidFill>
          <a:latin typeface="Verdana"/>
          <a:ea typeface="Verdana" pitchFamily="34" charset="0"/>
          <a:cs typeface="+mn-cs"/>
        </a:defRPr>
      </a:lvl5pPr>
      <a:lvl6pPr marL="0" indent="0" algn="l" defTabSz="146618" rtl="0" eaLnBrk="1" latinLnBrk="0" hangingPunct="1">
        <a:spcBef>
          <a:spcPts val="0"/>
        </a:spcBef>
        <a:spcAft>
          <a:spcPts val="192"/>
        </a:spcAft>
        <a:buClr>
          <a:schemeClr val="tx2"/>
        </a:buClr>
        <a:buFont typeface="Arial" panose="020B0604020202020204" pitchFamily="34" charset="0"/>
        <a:buChar char="​"/>
        <a:defRPr sz="577" b="1" kern="1200" cap="all" spc="-16" baseline="0">
          <a:solidFill>
            <a:schemeClr val="tx2"/>
          </a:solidFill>
          <a:latin typeface="+mn-lt"/>
          <a:ea typeface="+mn-ea"/>
          <a:cs typeface="+mn-cs"/>
        </a:defRPr>
      </a:lvl6pPr>
      <a:lvl7pPr marL="0" indent="0" algn="l" defTabSz="146618" rtl="0" eaLnBrk="1" latinLnBrk="0" hangingPunct="1">
        <a:spcBef>
          <a:spcPts val="0"/>
        </a:spcBef>
        <a:spcAft>
          <a:spcPts val="385"/>
        </a:spcAft>
        <a:buFont typeface="Arial" panose="020B0604020202020204" pitchFamily="34" charset="0"/>
        <a:buChar char="​"/>
        <a:defRPr sz="577" i="0" kern="1200" spc="-16">
          <a:solidFill>
            <a:schemeClr val="bg2"/>
          </a:solidFill>
          <a:latin typeface="+mn-lt"/>
          <a:ea typeface="+mn-ea"/>
          <a:cs typeface="+mn-cs"/>
        </a:defRPr>
      </a:lvl7pPr>
      <a:lvl8pPr marL="207809" indent="-80815" algn="l" defTabSz="146618" rtl="0" eaLnBrk="1" latinLnBrk="0" hangingPunct="1">
        <a:spcBef>
          <a:spcPts val="0"/>
        </a:spcBef>
        <a:spcAft>
          <a:spcPts val="385"/>
        </a:spcAft>
        <a:buClr>
          <a:schemeClr val="bg2"/>
        </a:buClr>
        <a:buFont typeface="+mj-lt"/>
        <a:buAutoNum type="arabicPeriod"/>
        <a:defRPr sz="513" kern="1200" spc="-16">
          <a:solidFill>
            <a:schemeClr val="tx1"/>
          </a:solidFill>
          <a:latin typeface="+mn-lt"/>
          <a:ea typeface="+mn-ea"/>
          <a:cs typeface="+mn-cs"/>
        </a:defRPr>
      </a:lvl8pPr>
      <a:lvl9pPr marL="207809" indent="-80815" algn="l" defTabSz="146618" rtl="0" eaLnBrk="1" latinLnBrk="0" hangingPunct="1">
        <a:spcBef>
          <a:spcPts val="0"/>
        </a:spcBef>
        <a:spcAft>
          <a:spcPts val="385"/>
        </a:spcAft>
        <a:buClr>
          <a:schemeClr val="bg2"/>
        </a:buClr>
        <a:buFont typeface="+mj-lt"/>
        <a:buAutoNum type="alphaUcPeriod"/>
        <a:defRPr sz="513" kern="1200" spc="-16">
          <a:solidFill>
            <a:schemeClr val="tx1"/>
          </a:solidFill>
          <a:latin typeface="+mn-lt"/>
          <a:ea typeface="+mn-ea"/>
          <a:cs typeface="+mn-cs"/>
        </a:defRPr>
      </a:lvl9pPr>
    </p:bodyStyle>
    <p:otherStyle>
      <a:defPPr>
        <a:defRPr lang="en-US"/>
      </a:defPPr>
      <a:lvl1pPr marL="0" algn="l" defTabSz="146618" rtl="0" eaLnBrk="1" latinLnBrk="0" hangingPunct="1">
        <a:defRPr sz="609" kern="1200">
          <a:solidFill>
            <a:schemeClr val="tx1"/>
          </a:solidFill>
          <a:latin typeface="+mn-lt"/>
          <a:ea typeface="+mn-ea"/>
          <a:cs typeface="+mn-cs"/>
        </a:defRPr>
      </a:lvl1pPr>
      <a:lvl2pPr marL="146618" algn="l" defTabSz="146618" rtl="0" eaLnBrk="1" latinLnBrk="0" hangingPunct="1">
        <a:defRPr sz="609" kern="1200">
          <a:solidFill>
            <a:schemeClr val="tx1"/>
          </a:solidFill>
          <a:latin typeface="+mn-lt"/>
          <a:ea typeface="+mn-ea"/>
          <a:cs typeface="+mn-cs"/>
        </a:defRPr>
      </a:lvl2pPr>
      <a:lvl3pPr marL="293235" algn="l" defTabSz="146618" rtl="0" eaLnBrk="1" latinLnBrk="0" hangingPunct="1">
        <a:defRPr sz="609" kern="1200">
          <a:solidFill>
            <a:schemeClr val="tx1"/>
          </a:solidFill>
          <a:latin typeface="+mn-lt"/>
          <a:ea typeface="+mn-ea"/>
          <a:cs typeface="+mn-cs"/>
        </a:defRPr>
      </a:lvl3pPr>
      <a:lvl4pPr marL="439852" algn="l" defTabSz="146618" rtl="0" eaLnBrk="1" latinLnBrk="0" hangingPunct="1">
        <a:defRPr sz="609" kern="1200">
          <a:solidFill>
            <a:schemeClr val="tx1"/>
          </a:solidFill>
          <a:latin typeface="+mn-lt"/>
          <a:ea typeface="+mn-ea"/>
          <a:cs typeface="+mn-cs"/>
        </a:defRPr>
      </a:lvl4pPr>
      <a:lvl5pPr marL="586470" algn="l" defTabSz="146618" rtl="0" eaLnBrk="1" latinLnBrk="0" hangingPunct="1">
        <a:defRPr sz="609" kern="1200">
          <a:solidFill>
            <a:schemeClr val="tx1"/>
          </a:solidFill>
          <a:latin typeface="+mn-lt"/>
          <a:ea typeface="+mn-ea"/>
          <a:cs typeface="+mn-cs"/>
        </a:defRPr>
      </a:lvl5pPr>
      <a:lvl6pPr marL="733087" algn="l" defTabSz="146618" rtl="0" eaLnBrk="1" latinLnBrk="0" hangingPunct="1">
        <a:defRPr sz="609" kern="1200">
          <a:solidFill>
            <a:schemeClr val="tx1"/>
          </a:solidFill>
          <a:latin typeface="+mn-lt"/>
          <a:ea typeface="+mn-ea"/>
          <a:cs typeface="+mn-cs"/>
        </a:defRPr>
      </a:lvl6pPr>
      <a:lvl7pPr marL="879704" algn="l" defTabSz="146618" rtl="0" eaLnBrk="1" latinLnBrk="0" hangingPunct="1">
        <a:defRPr sz="609" kern="1200">
          <a:solidFill>
            <a:schemeClr val="tx1"/>
          </a:solidFill>
          <a:latin typeface="+mn-lt"/>
          <a:ea typeface="+mn-ea"/>
          <a:cs typeface="+mn-cs"/>
        </a:defRPr>
      </a:lvl7pPr>
      <a:lvl8pPr marL="1026321" algn="l" defTabSz="146618" rtl="0" eaLnBrk="1" latinLnBrk="0" hangingPunct="1">
        <a:defRPr sz="609" kern="1200">
          <a:solidFill>
            <a:schemeClr val="tx1"/>
          </a:solidFill>
          <a:latin typeface="+mn-lt"/>
          <a:ea typeface="+mn-ea"/>
          <a:cs typeface="+mn-cs"/>
        </a:defRPr>
      </a:lvl8pPr>
      <a:lvl9pPr marL="1172939" algn="l" defTabSz="146618" rtl="0" eaLnBrk="1" latinLnBrk="0" hangingPunct="1">
        <a:defRPr sz="60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538">
          <p15:clr>
            <a:srgbClr val="F26B43"/>
          </p15:clr>
        </p15:guide>
        <p15:guide id="2" pos="17814">
          <p15:clr>
            <a:srgbClr val="F26B43"/>
          </p15:clr>
        </p15:guide>
        <p15:guide id="3" orient="horz" pos="3230">
          <p15:clr>
            <a:srgbClr val="F26B43"/>
          </p15:clr>
        </p15:guide>
        <p15:guide id="4" orient="horz" pos="11207">
          <p15:clr>
            <a:srgbClr val="F26B43"/>
          </p15:clr>
        </p15:guide>
        <p15:guide id="5" pos="15264">
          <p15:clr>
            <a:srgbClr val="F26B43"/>
          </p15:clr>
        </p15:guide>
        <p15:guide id="6" pos="13990">
          <p15:clr>
            <a:srgbClr val="F26B43"/>
          </p15:clr>
        </p15:guide>
        <p15:guide id="7" pos="12715">
          <p15:clr>
            <a:srgbClr val="F26B43"/>
          </p15:clr>
        </p15:guide>
        <p15:guide id="8" pos="11443">
          <p15:clr>
            <a:srgbClr val="F26B43"/>
          </p15:clr>
        </p15:guide>
        <p15:guide id="9" pos="10168">
          <p15:clr>
            <a:srgbClr val="F26B43"/>
          </p15:clr>
        </p15:guide>
        <p15:guide id="10" pos="8894">
          <p15:clr>
            <a:srgbClr val="F26B43"/>
          </p15:clr>
        </p15:guide>
        <p15:guide id="11" pos="7618">
          <p15:clr>
            <a:srgbClr val="F26B43"/>
          </p15:clr>
        </p15:guide>
        <p15:guide id="12" pos="6346">
          <p15:clr>
            <a:srgbClr val="F26B43"/>
          </p15:clr>
        </p15:guide>
        <p15:guide id="13" pos="5071">
          <p15:clr>
            <a:srgbClr val="F26B43"/>
          </p15:clr>
        </p15:guide>
        <p15:guide id="14" pos="3797">
          <p15:clr>
            <a:srgbClr val="F26B43"/>
          </p15:clr>
        </p15:guide>
        <p15:guide id="15" pos="2523">
          <p15:clr>
            <a:srgbClr val="F26B43"/>
          </p15:clr>
        </p15:guide>
        <p15:guide id="16" pos="124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798618" y="312768"/>
            <a:ext cx="10590003" cy="748626"/>
          </a:xfrm>
          <a:prstGeom prst="rect">
            <a:avLst/>
          </a:prstGeom>
          <a:noFill/>
          <a:ln w="9525">
            <a:noFill/>
            <a:miter lim="800000"/>
            <a:headEnd/>
            <a:tailEnd/>
          </a:ln>
        </p:spPr>
        <p:txBody>
          <a:bodyPr vert="horz" wrap="square" lIns="0" tIns="18000" rIns="0" bIns="0" numCol="1" anchor="t" anchorCtr="0" compatLnSpc="1">
            <a:prstTxWarp prst="textNoShape">
              <a:avLst/>
            </a:prstTxWarp>
            <a:noAutofit/>
          </a:bodyPr>
          <a:lstStyle/>
          <a:p>
            <a:pPr lvl="0"/>
            <a:r>
              <a:rPr lang="en-GB" noProof="0" dirty="0"/>
              <a:t>Presentation title</a:t>
            </a:r>
            <a:br>
              <a:rPr lang="en-GB" noProof="0" dirty="0"/>
            </a:br>
            <a:r>
              <a:rPr lang="en-GB" noProof="0" dirty="0"/>
              <a:t>(in cyan)</a:t>
            </a:r>
          </a:p>
        </p:txBody>
      </p:sp>
      <p:sp>
        <p:nvSpPr>
          <p:cNvPr id="6" name="Slide Number Placeholder 5"/>
          <p:cNvSpPr>
            <a:spLocks noGrp="1"/>
          </p:cNvSpPr>
          <p:nvPr>
            <p:ph type="sldNum" sz="quarter" idx="4"/>
          </p:nvPr>
        </p:nvSpPr>
        <p:spPr>
          <a:xfrm>
            <a:off x="10908620" y="6280547"/>
            <a:ext cx="480001" cy="155575"/>
          </a:xfrm>
          <a:prstGeom prst="rect">
            <a:avLst/>
          </a:prstGeom>
        </p:spPr>
        <p:txBody>
          <a:bodyPr vert="horz" wrap="square" lIns="0" tIns="0" rIns="0" bIns="0" numCol="1" anchor="ctr" anchorCtr="0" compatLnSpc="1">
            <a:prstTxWarp prst="textNoShape">
              <a:avLst/>
            </a:prstTxWarp>
          </a:bodyPr>
          <a:lstStyle>
            <a:lvl1pPr algn="r">
              <a:defRPr sz="257" b="0" baseline="0"/>
            </a:lvl1pPr>
          </a:lstStyle>
          <a:p>
            <a:fld id="{31421AFA-3AE7-4CEA-BC9B-447859BED57B}" type="slidenum">
              <a:rPr lang="en-GB" smtClean="0"/>
              <a:pPr/>
              <a:t>‹#›</a:t>
            </a:fld>
            <a:endParaRPr lang="en-GB" dirty="0"/>
          </a:p>
        </p:txBody>
      </p:sp>
      <p:sp>
        <p:nvSpPr>
          <p:cNvPr id="1031" name="Rectangle 7"/>
          <p:cNvSpPr>
            <a:spLocks noGrp="1" noChangeArrowheads="1"/>
          </p:cNvSpPr>
          <p:nvPr>
            <p:ph type="body" idx="1"/>
          </p:nvPr>
        </p:nvSpPr>
        <p:spPr bwMode="auto">
          <a:xfrm>
            <a:off x="798617" y="1647827"/>
            <a:ext cx="10590003" cy="405923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4 No bullet text 18</a:t>
            </a:r>
          </a:p>
          <a:p>
            <a:pPr lvl="4"/>
            <a:r>
              <a:rPr lang="en-GB" noProof="0" dirty="0"/>
              <a:t>5 </a:t>
            </a:r>
            <a:r>
              <a:rPr lang="en-GB" noProof="0" dirty="0" err="1"/>
              <a:t>Megaheader</a:t>
            </a:r>
            <a:r>
              <a:rPr lang="en-GB" noProof="0" dirty="0"/>
              <a:t> caps 48</a:t>
            </a:r>
          </a:p>
          <a:p>
            <a:pPr lvl="5"/>
            <a:r>
              <a:rPr lang="en-GB" noProof="0" dirty="0"/>
              <a:t>6 Header caps 18</a:t>
            </a:r>
          </a:p>
          <a:p>
            <a:pPr lvl="6"/>
            <a:r>
              <a:rPr lang="en-GB" noProof="0" dirty="0"/>
              <a:t>7 Text 18</a:t>
            </a:r>
          </a:p>
          <a:p>
            <a:pPr lvl="7"/>
            <a:r>
              <a:rPr lang="en-GB" noProof="0" dirty="0"/>
              <a:t>8 Number 16</a:t>
            </a:r>
          </a:p>
          <a:p>
            <a:pPr lvl="8"/>
            <a:r>
              <a:rPr lang="en-GB" noProof="0" dirty="0"/>
              <a:t>9 Letter 16</a:t>
            </a:r>
          </a:p>
          <a:p>
            <a:pPr lvl="8"/>
            <a:endParaRPr lang="en-GB" noProof="0" dirty="0"/>
          </a:p>
        </p:txBody>
      </p:sp>
      <p:sp>
        <p:nvSpPr>
          <p:cNvPr id="5" name="Footer Placeholder 4">
            <a:extLst>
              <a:ext uri="{FF2B5EF4-FFF2-40B4-BE49-F238E27FC236}">
                <a16:creationId xmlns:a16="http://schemas.microsoft.com/office/drawing/2014/main" id="{1D9E4955-7821-481C-9AF7-C7D93767559E}"/>
              </a:ext>
            </a:extLst>
          </p:cNvPr>
          <p:cNvSpPr>
            <a:spLocks noGrp="1"/>
          </p:cNvSpPr>
          <p:nvPr>
            <p:ph type="ftr" sz="quarter" idx="3"/>
          </p:nvPr>
        </p:nvSpPr>
        <p:spPr>
          <a:xfrm>
            <a:off x="4056591" y="6280502"/>
            <a:ext cx="6515949"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dirty="0"/>
          </a:p>
        </p:txBody>
      </p:sp>
      <p:sp>
        <p:nvSpPr>
          <p:cNvPr id="10" name="Date_DateCustomA">
            <a:extLst>
              <a:ext uri="{FF2B5EF4-FFF2-40B4-BE49-F238E27FC236}">
                <a16:creationId xmlns:a16="http://schemas.microsoft.com/office/drawing/2014/main" id="{ADC3E656-DC3F-4718-B1B2-E5B4B66615C6}"/>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E8A079D-0F01-4087-8466-404AA9697848}" type="datetime1">
              <a:rPr lang="da-DK" smtClean="0"/>
              <a:t>20-06-2024</a:t>
            </a:fld>
            <a:endParaRPr lang="da-DK" dirty="0"/>
          </a:p>
        </p:txBody>
      </p:sp>
      <p:grpSp>
        <p:nvGrpSpPr>
          <p:cNvPr id="7" name="Group 6">
            <a:extLst>
              <a:ext uri="{FF2B5EF4-FFF2-40B4-BE49-F238E27FC236}">
                <a16:creationId xmlns:a16="http://schemas.microsoft.com/office/drawing/2014/main" id="{A135459E-96A0-4D48-B1D9-A034EE07E024}"/>
              </a:ext>
            </a:extLst>
          </p:cNvPr>
          <p:cNvGrpSpPr/>
          <p:nvPr userDrawn="1"/>
        </p:nvGrpSpPr>
        <p:grpSpPr>
          <a:xfrm>
            <a:off x="-1972350" y="1633992"/>
            <a:ext cx="1797025" cy="2906915"/>
            <a:chOff x="-1899137" y="-1"/>
            <a:chExt cx="1796791" cy="2907588"/>
          </a:xfrm>
        </p:grpSpPr>
        <p:grpSp>
          <p:nvGrpSpPr>
            <p:cNvPr id="11" name="Group 10">
              <a:extLst>
                <a:ext uri="{FF2B5EF4-FFF2-40B4-BE49-F238E27FC236}">
                  <a16:creationId xmlns:a16="http://schemas.microsoft.com/office/drawing/2014/main" id="{7DF113FF-8BE3-4207-A5C6-F4579EED1B78}"/>
                </a:ext>
              </a:extLst>
            </p:cNvPr>
            <p:cNvGrpSpPr/>
            <p:nvPr userDrawn="1"/>
          </p:nvGrpSpPr>
          <p:grpSpPr>
            <a:xfrm>
              <a:off x="-1899137" y="-1"/>
              <a:ext cx="1796791" cy="2907588"/>
              <a:chOff x="9009867" y="1645032"/>
              <a:chExt cx="2365739" cy="3828268"/>
            </a:xfrm>
          </p:grpSpPr>
          <p:pic>
            <p:nvPicPr>
              <p:cNvPr id="12" name="Picture 11">
                <a:extLst>
                  <a:ext uri="{FF2B5EF4-FFF2-40B4-BE49-F238E27FC236}">
                    <a16:creationId xmlns:a16="http://schemas.microsoft.com/office/drawing/2014/main" id="{5359A05F-1860-4448-A740-55E89B668802}"/>
                  </a:ext>
                </a:extLst>
              </p:cNvPr>
              <p:cNvPicPr>
                <a:picLocks noChangeAspect="1"/>
              </p:cNvPicPr>
              <p:nvPr/>
            </p:nvPicPr>
            <p:blipFill>
              <a:blip r:embed="rId41"/>
              <a:stretch>
                <a:fillRect/>
              </a:stretch>
            </p:blipFill>
            <p:spPr>
              <a:xfrm>
                <a:off x="9182748" y="1852126"/>
                <a:ext cx="599367" cy="280555"/>
              </a:xfrm>
              <a:prstGeom prst="rect">
                <a:avLst/>
              </a:prstGeom>
            </p:spPr>
          </p:pic>
          <p:sp>
            <p:nvSpPr>
              <p:cNvPr id="13" name="TextBox 12">
                <a:extLst>
                  <a:ext uri="{FF2B5EF4-FFF2-40B4-BE49-F238E27FC236}">
                    <a16:creationId xmlns:a16="http://schemas.microsoft.com/office/drawing/2014/main" id="{18399B32-2EE3-49AE-80A0-6797B01E89E6}"/>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4" name="Rectangle: Rounded Corners 13">
                <a:extLst>
                  <a:ext uri="{FF2B5EF4-FFF2-40B4-BE49-F238E27FC236}">
                    <a16:creationId xmlns:a16="http://schemas.microsoft.com/office/drawing/2014/main" id="{6A251040-79B2-4E75-B580-29B9D6CC1B9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dirty="0">
                  <a:solidFill>
                    <a:schemeClr val="accent3"/>
                  </a:solidFill>
                </a:endParaRPr>
              </a:p>
            </p:txBody>
          </p:sp>
        </p:grpSp>
        <p:pic>
          <p:nvPicPr>
            <p:cNvPr id="15" name="Picture 14">
              <a:extLst>
                <a:ext uri="{FF2B5EF4-FFF2-40B4-BE49-F238E27FC236}">
                  <a16:creationId xmlns:a16="http://schemas.microsoft.com/office/drawing/2014/main" id="{225B3411-6214-4AE2-A1EF-BEE63EC00B0E}"/>
                </a:ext>
              </a:extLst>
            </p:cNvPr>
            <p:cNvPicPr>
              <a:picLocks noChangeAspect="1"/>
            </p:cNvPicPr>
            <p:nvPr userDrawn="1"/>
          </p:nvPicPr>
          <p:blipFill>
            <a:blip r:embed="rId42"/>
            <a:stretch>
              <a:fillRect/>
            </a:stretch>
          </p:blipFill>
          <p:spPr>
            <a:xfrm>
              <a:off x="-1884053" y="1200637"/>
              <a:ext cx="1418614" cy="1444137"/>
            </a:xfrm>
            <a:prstGeom prst="rect">
              <a:avLst/>
            </a:prstGeom>
          </p:spPr>
        </p:pic>
      </p:grpSp>
      <p:sp>
        <p:nvSpPr>
          <p:cNvPr id="23" name="Rectangle 22">
            <a:extLst>
              <a:ext uri="{FF2B5EF4-FFF2-40B4-BE49-F238E27FC236}">
                <a16:creationId xmlns:a16="http://schemas.microsoft.com/office/drawing/2014/main" id="{6515BF35-693E-4749-821E-5148CED147C8}"/>
              </a:ext>
            </a:extLst>
          </p:cNvPr>
          <p:cNvSpPr/>
          <p:nvPr userDrawn="1"/>
        </p:nvSpPr>
        <p:spPr>
          <a:xfrm>
            <a:off x="2052092" y="6141510"/>
            <a:ext cx="1573351" cy="2722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77"/>
          </a:p>
        </p:txBody>
      </p:sp>
    </p:spTree>
    <p:extLst>
      <p:ext uri="{BB962C8B-B14F-4D97-AF65-F5344CB8AC3E}">
        <p14:creationId xmlns:p14="http://schemas.microsoft.com/office/powerpoint/2010/main" val="1734036203"/>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 id="2147483832" r:id="rId32"/>
    <p:sldLayoutId id="2147483833" r:id="rId33"/>
    <p:sldLayoutId id="2147483834" r:id="rId34"/>
    <p:sldLayoutId id="2147483835" r:id="rId35"/>
    <p:sldLayoutId id="2147483836" r:id="rId36"/>
    <p:sldLayoutId id="2147483837" r:id="rId37"/>
    <p:sldLayoutId id="2147483838" r:id="rId38"/>
    <p:sldLayoutId id="2147483839" r:id="rId39"/>
  </p:sldLayoutIdLst>
  <p:hf sldNum="0" hdr="0" ftr="0" dt="0"/>
  <p:txStyles>
    <p:titleStyle>
      <a:lvl1pPr algn="l" defTabSz="146618" rtl="0" eaLnBrk="1" fontAlgn="base" hangingPunct="1">
        <a:spcBef>
          <a:spcPct val="0"/>
        </a:spcBef>
        <a:spcAft>
          <a:spcPct val="0"/>
        </a:spcAft>
        <a:defRPr sz="770" b="1" kern="1200" cap="all" spc="-16" baseline="0">
          <a:solidFill>
            <a:schemeClr val="tx2"/>
          </a:solidFill>
          <a:latin typeface="Verdana"/>
          <a:ea typeface="Verdana" pitchFamily="34" charset="0"/>
          <a:cs typeface="Verdana" pitchFamily="34" charset="0"/>
        </a:defRPr>
      </a:lvl1pPr>
      <a:lvl2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2pPr>
      <a:lvl3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3pPr>
      <a:lvl4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4pPr>
      <a:lvl5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5pPr>
      <a:lvl6pPr marL="146618"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6pPr>
      <a:lvl7pPr marL="293235"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7pPr>
      <a:lvl8pPr marL="439852"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8pPr>
      <a:lvl9pPr marL="586470"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9pPr>
    </p:titleStyle>
    <p:bodyStyle>
      <a:lvl1pPr marL="80815" indent="-80815" algn="l" defTabSz="146618" rtl="0" eaLnBrk="1" fontAlgn="base" hangingPunct="1">
        <a:lnSpc>
          <a:spcPct val="100000"/>
        </a:lnSpc>
        <a:spcBef>
          <a:spcPct val="0"/>
        </a:spcBef>
        <a:spcAft>
          <a:spcPts val="385"/>
        </a:spcAft>
        <a:buFont typeface="Verdana" pitchFamily="34" charset="0"/>
        <a:buChar char="•"/>
        <a:defRPr kern="1200" spc="-16" baseline="0">
          <a:solidFill>
            <a:schemeClr val="tx1"/>
          </a:solidFill>
          <a:latin typeface="Verdana"/>
          <a:ea typeface="Verdana" pitchFamily="34" charset="0"/>
          <a:cs typeface="Verdana" pitchFamily="34" charset="0"/>
        </a:defRPr>
      </a:lvl1pPr>
      <a:lvl2pPr marL="207809" indent="-80815" algn="l" defTabSz="146618" rtl="0" eaLnBrk="1" fontAlgn="base" hangingPunct="1">
        <a:lnSpc>
          <a:spcPct val="100000"/>
        </a:lnSpc>
        <a:spcBef>
          <a:spcPct val="0"/>
        </a:spcBef>
        <a:spcAft>
          <a:spcPts val="385"/>
        </a:spcAft>
        <a:buFont typeface="Verdana" pitchFamily="34" charset="0"/>
        <a:buChar char="•"/>
        <a:defRPr sz="513" kern="1200" spc="-16" baseline="0">
          <a:solidFill>
            <a:schemeClr val="tx1"/>
          </a:solidFill>
          <a:latin typeface="Verdana"/>
          <a:ea typeface="Verdana" pitchFamily="34" charset="0"/>
          <a:cs typeface="+mn-cs"/>
        </a:defRPr>
      </a:lvl2pPr>
      <a:lvl3pPr marL="314023" indent="-80815" algn="l" defTabSz="146618" rtl="0" eaLnBrk="1" fontAlgn="base" hangingPunct="1">
        <a:lnSpc>
          <a:spcPct val="100000"/>
        </a:lnSpc>
        <a:spcBef>
          <a:spcPct val="0"/>
        </a:spcBef>
        <a:spcAft>
          <a:spcPts val="385"/>
        </a:spcAft>
        <a:buFont typeface="Verdana" pitchFamily="34" charset="0"/>
        <a:buChar char="•"/>
        <a:defRPr sz="449" kern="1200" spc="-16" baseline="0">
          <a:solidFill>
            <a:schemeClr val="tx1"/>
          </a:solidFill>
          <a:latin typeface="Verdana"/>
          <a:ea typeface="Verdana" pitchFamily="34" charset="0"/>
          <a:cs typeface="+mn-cs"/>
        </a:defRPr>
      </a:lvl3pPr>
      <a:lvl4pPr marL="0" indent="0" algn="l" defTabSz="146618" rtl="0" eaLnBrk="1" fontAlgn="base" hangingPunct="1">
        <a:lnSpc>
          <a:spcPct val="100000"/>
        </a:lnSpc>
        <a:spcBef>
          <a:spcPct val="0"/>
        </a:spcBef>
        <a:spcAft>
          <a:spcPts val="385"/>
        </a:spcAft>
        <a:buFont typeface="Arial" panose="020B0604020202020204" pitchFamily="34" charset="0"/>
        <a:buChar char="​"/>
        <a:defRPr sz="577" kern="1200" spc="-16" baseline="0">
          <a:solidFill>
            <a:schemeClr val="tx1"/>
          </a:solidFill>
          <a:latin typeface="Verdana"/>
          <a:ea typeface="Verdana" pitchFamily="34" charset="0"/>
          <a:cs typeface="+mn-cs"/>
        </a:defRPr>
      </a:lvl4pPr>
      <a:lvl5pPr marL="0" indent="0" algn="l" defTabSz="146618" rtl="0" eaLnBrk="1" fontAlgn="base" hangingPunct="1">
        <a:lnSpc>
          <a:spcPct val="80000"/>
        </a:lnSpc>
        <a:spcBef>
          <a:spcPct val="0"/>
        </a:spcBef>
        <a:spcAft>
          <a:spcPts val="385"/>
        </a:spcAft>
        <a:buFont typeface="Arial" panose="020B0604020202020204" pitchFamily="34" charset="0"/>
        <a:buChar char="​"/>
        <a:defRPr sz="1539" b="1" kern="1200" cap="all" spc="-32" baseline="0">
          <a:solidFill>
            <a:schemeClr val="tx1"/>
          </a:solidFill>
          <a:latin typeface="Verdana"/>
          <a:ea typeface="Verdana" pitchFamily="34" charset="0"/>
          <a:cs typeface="+mn-cs"/>
        </a:defRPr>
      </a:lvl5pPr>
      <a:lvl6pPr marL="0" indent="0" algn="l" defTabSz="146618" rtl="0" eaLnBrk="1" latinLnBrk="0" hangingPunct="1">
        <a:spcBef>
          <a:spcPts val="0"/>
        </a:spcBef>
        <a:spcAft>
          <a:spcPts val="192"/>
        </a:spcAft>
        <a:buClr>
          <a:schemeClr val="tx2"/>
        </a:buClr>
        <a:buFont typeface="Arial" panose="020B0604020202020204" pitchFamily="34" charset="0"/>
        <a:buChar char="​"/>
        <a:defRPr sz="577" b="1" kern="1200" cap="all" spc="-16" baseline="0">
          <a:solidFill>
            <a:schemeClr val="tx2"/>
          </a:solidFill>
          <a:latin typeface="+mn-lt"/>
          <a:ea typeface="+mn-ea"/>
          <a:cs typeface="+mn-cs"/>
        </a:defRPr>
      </a:lvl6pPr>
      <a:lvl7pPr marL="0" indent="0" algn="l" defTabSz="146618" rtl="0" eaLnBrk="1" latinLnBrk="0" hangingPunct="1">
        <a:spcBef>
          <a:spcPts val="0"/>
        </a:spcBef>
        <a:spcAft>
          <a:spcPts val="385"/>
        </a:spcAft>
        <a:buFont typeface="Arial" panose="020B0604020202020204" pitchFamily="34" charset="0"/>
        <a:buChar char="​"/>
        <a:defRPr sz="577" i="0" kern="1200" spc="-16">
          <a:solidFill>
            <a:schemeClr val="bg2"/>
          </a:solidFill>
          <a:latin typeface="+mn-lt"/>
          <a:ea typeface="+mn-ea"/>
          <a:cs typeface="+mn-cs"/>
        </a:defRPr>
      </a:lvl7pPr>
      <a:lvl8pPr marL="207809" indent="-80815" algn="l" defTabSz="146618" rtl="0" eaLnBrk="1" latinLnBrk="0" hangingPunct="1">
        <a:spcBef>
          <a:spcPts val="0"/>
        </a:spcBef>
        <a:spcAft>
          <a:spcPts val="385"/>
        </a:spcAft>
        <a:buClr>
          <a:schemeClr val="bg2"/>
        </a:buClr>
        <a:buFont typeface="+mj-lt"/>
        <a:buAutoNum type="arabicPeriod"/>
        <a:defRPr sz="513" kern="1200" spc="-16">
          <a:solidFill>
            <a:schemeClr val="tx1"/>
          </a:solidFill>
          <a:latin typeface="+mn-lt"/>
          <a:ea typeface="+mn-ea"/>
          <a:cs typeface="+mn-cs"/>
        </a:defRPr>
      </a:lvl8pPr>
      <a:lvl9pPr marL="207809" indent="-80815" algn="l" defTabSz="146618" rtl="0" eaLnBrk="1" latinLnBrk="0" hangingPunct="1">
        <a:spcBef>
          <a:spcPts val="0"/>
        </a:spcBef>
        <a:spcAft>
          <a:spcPts val="385"/>
        </a:spcAft>
        <a:buClr>
          <a:schemeClr val="bg2"/>
        </a:buClr>
        <a:buFont typeface="+mj-lt"/>
        <a:buAutoNum type="alphaUcPeriod"/>
        <a:defRPr sz="513" kern="1200" spc="-16">
          <a:solidFill>
            <a:schemeClr val="tx1"/>
          </a:solidFill>
          <a:latin typeface="+mn-lt"/>
          <a:ea typeface="+mn-ea"/>
          <a:cs typeface="+mn-cs"/>
        </a:defRPr>
      </a:lvl9pPr>
    </p:bodyStyle>
    <p:otherStyle>
      <a:defPPr>
        <a:defRPr lang="en-US"/>
      </a:defPPr>
      <a:lvl1pPr marL="0" algn="l" defTabSz="146618" rtl="0" eaLnBrk="1" latinLnBrk="0" hangingPunct="1">
        <a:defRPr sz="609" kern="1200">
          <a:solidFill>
            <a:schemeClr val="tx1"/>
          </a:solidFill>
          <a:latin typeface="+mn-lt"/>
          <a:ea typeface="+mn-ea"/>
          <a:cs typeface="+mn-cs"/>
        </a:defRPr>
      </a:lvl1pPr>
      <a:lvl2pPr marL="146618" algn="l" defTabSz="146618" rtl="0" eaLnBrk="1" latinLnBrk="0" hangingPunct="1">
        <a:defRPr sz="609" kern="1200">
          <a:solidFill>
            <a:schemeClr val="tx1"/>
          </a:solidFill>
          <a:latin typeface="+mn-lt"/>
          <a:ea typeface="+mn-ea"/>
          <a:cs typeface="+mn-cs"/>
        </a:defRPr>
      </a:lvl2pPr>
      <a:lvl3pPr marL="293235" algn="l" defTabSz="146618" rtl="0" eaLnBrk="1" latinLnBrk="0" hangingPunct="1">
        <a:defRPr sz="609" kern="1200">
          <a:solidFill>
            <a:schemeClr val="tx1"/>
          </a:solidFill>
          <a:latin typeface="+mn-lt"/>
          <a:ea typeface="+mn-ea"/>
          <a:cs typeface="+mn-cs"/>
        </a:defRPr>
      </a:lvl3pPr>
      <a:lvl4pPr marL="439852" algn="l" defTabSz="146618" rtl="0" eaLnBrk="1" latinLnBrk="0" hangingPunct="1">
        <a:defRPr sz="609" kern="1200">
          <a:solidFill>
            <a:schemeClr val="tx1"/>
          </a:solidFill>
          <a:latin typeface="+mn-lt"/>
          <a:ea typeface="+mn-ea"/>
          <a:cs typeface="+mn-cs"/>
        </a:defRPr>
      </a:lvl4pPr>
      <a:lvl5pPr marL="586470" algn="l" defTabSz="146618" rtl="0" eaLnBrk="1" latinLnBrk="0" hangingPunct="1">
        <a:defRPr sz="609" kern="1200">
          <a:solidFill>
            <a:schemeClr val="tx1"/>
          </a:solidFill>
          <a:latin typeface="+mn-lt"/>
          <a:ea typeface="+mn-ea"/>
          <a:cs typeface="+mn-cs"/>
        </a:defRPr>
      </a:lvl5pPr>
      <a:lvl6pPr marL="733087" algn="l" defTabSz="146618" rtl="0" eaLnBrk="1" latinLnBrk="0" hangingPunct="1">
        <a:defRPr sz="609" kern="1200">
          <a:solidFill>
            <a:schemeClr val="tx1"/>
          </a:solidFill>
          <a:latin typeface="+mn-lt"/>
          <a:ea typeface="+mn-ea"/>
          <a:cs typeface="+mn-cs"/>
        </a:defRPr>
      </a:lvl6pPr>
      <a:lvl7pPr marL="879704" algn="l" defTabSz="146618" rtl="0" eaLnBrk="1" latinLnBrk="0" hangingPunct="1">
        <a:defRPr sz="609" kern="1200">
          <a:solidFill>
            <a:schemeClr val="tx1"/>
          </a:solidFill>
          <a:latin typeface="+mn-lt"/>
          <a:ea typeface="+mn-ea"/>
          <a:cs typeface="+mn-cs"/>
        </a:defRPr>
      </a:lvl7pPr>
      <a:lvl8pPr marL="1026321" algn="l" defTabSz="146618" rtl="0" eaLnBrk="1" latinLnBrk="0" hangingPunct="1">
        <a:defRPr sz="609" kern="1200">
          <a:solidFill>
            <a:schemeClr val="tx1"/>
          </a:solidFill>
          <a:latin typeface="+mn-lt"/>
          <a:ea typeface="+mn-ea"/>
          <a:cs typeface="+mn-cs"/>
        </a:defRPr>
      </a:lvl8pPr>
      <a:lvl9pPr marL="1172939" algn="l" defTabSz="146618" rtl="0" eaLnBrk="1" latinLnBrk="0" hangingPunct="1">
        <a:defRPr sz="60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538">
          <p15:clr>
            <a:srgbClr val="F26B43"/>
          </p15:clr>
        </p15:guide>
        <p15:guide id="2" pos="17814">
          <p15:clr>
            <a:srgbClr val="F26B43"/>
          </p15:clr>
        </p15:guide>
        <p15:guide id="3" orient="horz" pos="3230">
          <p15:clr>
            <a:srgbClr val="F26B43"/>
          </p15:clr>
        </p15:guide>
        <p15:guide id="4" orient="horz" pos="11207">
          <p15:clr>
            <a:srgbClr val="F26B43"/>
          </p15:clr>
        </p15:guide>
        <p15:guide id="5" pos="15264">
          <p15:clr>
            <a:srgbClr val="F26B43"/>
          </p15:clr>
        </p15:guide>
        <p15:guide id="6" pos="13990">
          <p15:clr>
            <a:srgbClr val="F26B43"/>
          </p15:clr>
        </p15:guide>
        <p15:guide id="7" pos="12715">
          <p15:clr>
            <a:srgbClr val="F26B43"/>
          </p15:clr>
        </p15:guide>
        <p15:guide id="8" pos="11443">
          <p15:clr>
            <a:srgbClr val="F26B43"/>
          </p15:clr>
        </p15:guide>
        <p15:guide id="9" pos="10168">
          <p15:clr>
            <a:srgbClr val="F26B43"/>
          </p15:clr>
        </p15:guide>
        <p15:guide id="10" pos="8894">
          <p15:clr>
            <a:srgbClr val="F26B43"/>
          </p15:clr>
        </p15:guide>
        <p15:guide id="11" pos="7618">
          <p15:clr>
            <a:srgbClr val="F26B43"/>
          </p15:clr>
        </p15:guide>
        <p15:guide id="12" pos="6346">
          <p15:clr>
            <a:srgbClr val="F26B43"/>
          </p15:clr>
        </p15:guide>
        <p15:guide id="13" pos="5071">
          <p15:clr>
            <a:srgbClr val="F26B43"/>
          </p15:clr>
        </p15:guide>
        <p15:guide id="14" pos="3797">
          <p15:clr>
            <a:srgbClr val="F26B43"/>
          </p15:clr>
        </p15:guide>
        <p15:guide id="15" pos="2523">
          <p15:clr>
            <a:srgbClr val="F26B43"/>
          </p15:clr>
        </p15:guide>
        <p15:guide id="16" pos="12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11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0.xml"/><Relationship Id="rId7" Type="http://schemas.openxmlformats.org/officeDocument/2006/relationships/image" Target="../media/image51.svg"/><Relationship Id="rId2" Type="http://schemas.openxmlformats.org/officeDocument/2006/relationships/slideLayout" Target="../slideLayouts/slideLayout10.xml"/><Relationship Id="rId1" Type="http://schemas.openxmlformats.org/officeDocument/2006/relationships/tags" Target="../tags/tag125.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124.bin"/><Relationship Id="rId9" Type="http://schemas.openxmlformats.org/officeDocument/2006/relationships/image" Target="../media/image37.svg"/></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1.xml"/><Relationship Id="rId7" Type="http://schemas.openxmlformats.org/officeDocument/2006/relationships/image" Target="../media/image53.svg"/><Relationship Id="rId2" Type="http://schemas.openxmlformats.org/officeDocument/2006/relationships/slideLayout" Target="../slideLayouts/slideLayout10.xml"/><Relationship Id="rId1" Type="http://schemas.openxmlformats.org/officeDocument/2006/relationships/tags" Target="../tags/tag126.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125.bin"/><Relationship Id="rId9" Type="http://schemas.openxmlformats.org/officeDocument/2006/relationships/image" Target="../media/image37.svg"/></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2.xml"/><Relationship Id="rId7" Type="http://schemas.openxmlformats.org/officeDocument/2006/relationships/image" Target="../media/image55.svg"/><Relationship Id="rId2" Type="http://schemas.openxmlformats.org/officeDocument/2006/relationships/slideLayout" Target="../slideLayouts/slideLayout10.xml"/><Relationship Id="rId1" Type="http://schemas.openxmlformats.org/officeDocument/2006/relationships/tags" Target="../tags/tag127.x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126.bin"/><Relationship Id="rId9" Type="http://schemas.openxmlformats.org/officeDocument/2006/relationships/image" Target="../media/image37.svg"/></Relationships>
</file>

<file path=ppt/slides/_rels/slide14.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46.xml"/><Relationship Id="rId1" Type="http://schemas.openxmlformats.org/officeDocument/2006/relationships/tags" Target="../tags/tag116.xml"/><Relationship Id="rId4" Type="http://schemas.openxmlformats.org/officeDocument/2006/relationships/image" Target="../media/image19.emf"/></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notesSlide" Target="../notesSlides/notesSlide2.xml"/><Relationship Id="rId7" Type="http://schemas.openxmlformats.org/officeDocument/2006/relationships/image" Target="../media/image27.svg"/><Relationship Id="rId12" Type="http://schemas.openxmlformats.org/officeDocument/2006/relationships/image" Target="../media/image32.png"/><Relationship Id="rId17" Type="http://schemas.openxmlformats.org/officeDocument/2006/relationships/image" Target="../media/image37.svg"/><Relationship Id="rId2" Type="http://schemas.openxmlformats.org/officeDocument/2006/relationships/slideLayout" Target="../slideLayouts/slideLayout10.xml"/><Relationship Id="rId16" Type="http://schemas.openxmlformats.org/officeDocument/2006/relationships/image" Target="../media/image36.png"/><Relationship Id="rId1" Type="http://schemas.openxmlformats.org/officeDocument/2006/relationships/tags" Target="../tags/tag117.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emf"/><Relationship Id="rId15" Type="http://schemas.openxmlformats.org/officeDocument/2006/relationships/image" Target="../media/image35.svg"/><Relationship Id="rId10" Type="http://schemas.openxmlformats.org/officeDocument/2006/relationships/image" Target="../media/image30.png"/><Relationship Id="rId4" Type="http://schemas.openxmlformats.org/officeDocument/2006/relationships/oleObject" Target="../embeddings/oleObject116.bin"/><Relationship Id="rId9" Type="http://schemas.openxmlformats.org/officeDocument/2006/relationships/image" Target="../media/image29.svg"/><Relationship Id="rId14" Type="http://schemas.openxmlformats.org/officeDocument/2006/relationships/image" Target="../media/image34.png"/></Relationships>
</file>

<file path=ppt/slides/_rels/slide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3.xml"/><Relationship Id="rId7" Type="http://schemas.openxmlformats.org/officeDocument/2006/relationships/image" Target="../media/image39.svg"/><Relationship Id="rId2" Type="http://schemas.openxmlformats.org/officeDocument/2006/relationships/slideLayout" Target="../slideLayouts/slideLayout10.xml"/><Relationship Id="rId1" Type="http://schemas.openxmlformats.org/officeDocument/2006/relationships/tags" Target="../tags/tag118.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17.bin"/><Relationship Id="rId9" Type="http://schemas.openxmlformats.org/officeDocument/2006/relationships/image" Target="../media/image33.svg"/></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4.xml"/><Relationship Id="rId7" Type="http://schemas.openxmlformats.org/officeDocument/2006/relationships/image" Target="../media/image41.svg"/><Relationship Id="rId2" Type="http://schemas.openxmlformats.org/officeDocument/2006/relationships/slideLayout" Target="../slideLayouts/slideLayout10.xml"/><Relationship Id="rId1" Type="http://schemas.openxmlformats.org/officeDocument/2006/relationships/tags" Target="../tags/tag119.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18.bin"/><Relationship Id="rId9" Type="http://schemas.openxmlformats.org/officeDocument/2006/relationships/image" Target="../media/image33.svg"/></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5.xml"/><Relationship Id="rId7" Type="http://schemas.openxmlformats.org/officeDocument/2006/relationships/image" Target="../media/image43.svg"/><Relationship Id="rId2" Type="http://schemas.openxmlformats.org/officeDocument/2006/relationships/slideLayout" Target="../slideLayouts/slideLayout10.xml"/><Relationship Id="rId1" Type="http://schemas.openxmlformats.org/officeDocument/2006/relationships/tags" Target="../tags/tag120.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19.bin"/><Relationship Id="rId9" Type="http://schemas.openxmlformats.org/officeDocument/2006/relationships/image" Target="../media/image33.svg"/></Relationships>
</file>

<file path=ppt/slides/_rels/slide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6.xml"/><Relationship Id="rId7" Type="http://schemas.openxmlformats.org/officeDocument/2006/relationships/image" Target="../media/image45.svg"/><Relationship Id="rId2" Type="http://schemas.openxmlformats.org/officeDocument/2006/relationships/slideLayout" Target="../slideLayouts/slideLayout10.xml"/><Relationship Id="rId1" Type="http://schemas.openxmlformats.org/officeDocument/2006/relationships/tags" Target="../tags/tag121.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120.bin"/><Relationship Id="rId9" Type="http://schemas.openxmlformats.org/officeDocument/2006/relationships/image" Target="../media/image35.svg"/></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7.xml"/><Relationship Id="rId7" Type="http://schemas.openxmlformats.org/officeDocument/2006/relationships/image" Target="../media/image47.svg"/><Relationship Id="rId2" Type="http://schemas.openxmlformats.org/officeDocument/2006/relationships/slideLayout" Target="../slideLayouts/slideLayout10.xml"/><Relationship Id="rId1" Type="http://schemas.openxmlformats.org/officeDocument/2006/relationships/tags" Target="../tags/tag122.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121.bin"/><Relationship Id="rId9" Type="http://schemas.openxmlformats.org/officeDocument/2006/relationships/image" Target="../media/image35.svg"/></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8.xml"/><Relationship Id="rId7" Type="http://schemas.openxmlformats.org/officeDocument/2006/relationships/image" Target="../media/image49.svg"/><Relationship Id="rId2" Type="http://schemas.openxmlformats.org/officeDocument/2006/relationships/slideLayout" Target="../slideLayouts/slideLayout10.xml"/><Relationship Id="rId1" Type="http://schemas.openxmlformats.org/officeDocument/2006/relationships/tags" Target="../tags/tag123.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122.bin"/><Relationship Id="rId9" Type="http://schemas.openxmlformats.org/officeDocument/2006/relationships/image" Target="../media/image35.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pSp>
        <p:nvGrpSpPr>
          <p:cNvPr id="2" name="Google Shape;437;p8">
            <a:extLst>
              <a:ext uri="{FF2B5EF4-FFF2-40B4-BE49-F238E27FC236}">
                <a16:creationId xmlns:a16="http://schemas.microsoft.com/office/drawing/2014/main" id="{736F1108-49BC-3E51-A9ED-FA0E5328A7F4}"/>
              </a:ext>
            </a:extLst>
          </p:cNvPr>
          <p:cNvGrpSpPr/>
          <p:nvPr/>
        </p:nvGrpSpPr>
        <p:grpSpPr>
          <a:xfrm>
            <a:off x="-73611" y="71279"/>
            <a:ext cx="12215916" cy="1107752"/>
            <a:chOff x="27613" y="470447"/>
            <a:chExt cx="9161944" cy="830814"/>
          </a:xfrm>
        </p:grpSpPr>
        <p:sp>
          <p:nvSpPr>
            <p:cNvPr id="6" name="Google Shape;438;p8">
              <a:extLst>
                <a:ext uri="{FF2B5EF4-FFF2-40B4-BE49-F238E27FC236}">
                  <a16:creationId xmlns:a16="http://schemas.microsoft.com/office/drawing/2014/main" id="{8B5E1545-F89E-B9AC-122F-4763CA034473}"/>
                </a:ext>
              </a:extLst>
            </p:cNvPr>
            <p:cNvSpPr/>
            <p:nvPr/>
          </p:nvSpPr>
          <p:spPr>
            <a:xfrm>
              <a:off x="2176354" y="708034"/>
              <a:ext cx="281779" cy="397462"/>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8" name="Google Shape;439;p8">
              <a:extLst>
                <a:ext uri="{FF2B5EF4-FFF2-40B4-BE49-F238E27FC236}">
                  <a16:creationId xmlns:a16="http://schemas.microsoft.com/office/drawing/2014/main" id="{746074B1-6433-0719-E367-B8A1527CEE1A}"/>
                </a:ext>
              </a:extLst>
            </p:cNvPr>
            <p:cNvSpPr/>
            <p:nvPr/>
          </p:nvSpPr>
          <p:spPr>
            <a:xfrm>
              <a:off x="552323" y="912340"/>
              <a:ext cx="339086" cy="309912"/>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 name="Google Shape;440;p8">
              <a:extLst>
                <a:ext uri="{FF2B5EF4-FFF2-40B4-BE49-F238E27FC236}">
                  <a16:creationId xmlns:a16="http://schemas.microsoft.com/office/drawing/2014/main" id="{22C8BB42-0EDA-5A99-FAEC-036EFBB1FC3A}"/>
                </a:ext>
              </a:extLst>
            </p:cNvPr>
            <p:cNvSpPr/>
            <p:nvPr/>
          </p:nvSpPr>
          <p:spPr>
            <a:xfrm rot="-2700000">
              <a:off x="4913658" y="470447"/>
              <a:ext cx="181249" cy="400170"/>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 name="Google Shape;441;p8">
              <a:extLst>
                <a:ext uri="{FF2B5EF4-FFF2-40B4-BE49-F238E27FC236}">
                  <a16:creationId xmlns:a16="http://schemas.microsoft.com/office/drawing/2014/main" id="{94DFC4DA-D23F-BE38-8449-32C1D763F0EB}"/>
                </a:ext>
              </a:extLst>
            </p:cNvPr>
            <p:cNvSpPr/>
            <p:nvPr/>
          </p:nvSpPr>
          <p:spPr>
            <a:xfrm rot="-1967309">
              <a:off x="27613" y="549243"/>
              <a:ext cx="142154" cy="312221"/>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 name="Google Shape;442;p8">
              <a:extLst>
                <a:ext uri="{FF2B5EF4-FFF2-40B4-BE49-F238E27FC236}">
                  <a16:creationId xmlns:a16="http://schemas.microsoft.com/office/drawing/2014/main" id="{BB609EFC-C731-AF12-E9C5-EB6C61D339F0}"/>
                </a:ext>
              </a:extLst>
            </p:cNvPr>
            <p:cNvSpPr/>
            <p:nvPr/>
          </p:nvSpPr>
          <p:spPr>
            <a:xfrm>
              <a:off x="6508977" y="1054156"/>
              <a:ext cx="212880" cy="143991"/>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4" name="Google Shape;443;p8">
              <a:extLst>
                <a:ext uri="{FF2B5EF4-FFF2-40B4-BE49-F238E27FC236}">
                  <a16:creationId xmlns:a16="http://schemas.microsoft.com/office/drawing/2014/main" id="{2B91B282-B92E-2F4E-0F6F-956FDE5A5220}"/>
                </a:ext>
              </a:extLst>
            </p:cNvPr>
            <p:cNvSpPr/>
            <p:nvPr/>
          </p:nvSpPr>
          <p:spPr>
            <a:xfrm>
              <a:off x="4683118" y="1001445"/>
              <a:ext cx="272854" cy="185024"/>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5" name="Google Shape;444;p8">
              <a:extLst>
                <a:ext uri="{FF2B5EF4-FFF2-40B4-BE49-F238E27FC236}">
                  <a16:creationId xmlns:a16="http://schemas.microsoft.com/office/drawing/2014/main" id="{4561FB7E-EA00-4479-D064-0E492D302D53}"/>
                </a:ext>
              </a:extLst>
            </p:cNvPr>
            <p:cNvSpPr/>
            <p:nvPr/>
          </p:nvSpPr>
          <p:spPr>
            <a:xfrm rot="3663599">
              <a:off x="5966469" y="976075"/>
              <a:ext cx="204754" cy="377157"/>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6" name="Google Shape;445;p8">
              <a:extLst>
                <a:ext uri="{FF2B5EF4-FFF2-40B4-BE49-F238E27FC236}">
                  <a16:creationId xmlns:a16="http://schemas.microsoft.com/office/drawing/2014/main" id="{3B47059F-2486-89F3-DFCC-61E97E83AECB}"/>
                </a:ext>
              </a:extLst>
            </p:cNvPr>
            <p:cNvSpPr/>
            <p:nvPr/>
          </p:nvSpPr>
          <p:spPr>
            <a:xfrm rot="-3368760">
              <a:off x="5437768" y="638636"/>
              <a:ext cx="351278" cy="93987"/>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7" name="Google Shape;446;p8">
              <a:extLst>
                <a:ext uri="{FF2B5EF4-FFF2-40B4-BE49-F238E27FC236}">
                  <a16:creationId xmlns:a16="http://schemas.microsoft.com/office/drawing/2014/main" id="{768D560C-990D-0E28-D209-0A20C3A842DB}"/>
                </a:ext>
              </a:extLst>
            </p:cNvPr>
            <p:cNvSpPr/>
            <p:nvPr/>
          </p:nvSpPr>
          <p:spPr>
            <a:xfrm rot="3013936">
              <a:off x="1856192" y="906044"/>
              <a:ext cx="112704" cy="289910"/>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8" name="Google Shape;447;p8">
              <a:extLst>
                <a:ext uri="{FF2B5EF4-FFF2-40B4-BE49-F238E27FC236}">
                  <a16:creationId xmlns:a16="http://schemas.microsoft.com/office/drawing/2014/main" id="{B3AEF440-E329-181C-4F6C-194776C5731D}"/>
                </a:ext>
              </a:extLst>
            </p:cNvPr>
            <p:cNvSpPr/>
            <p:nvPr/>
          </p:nvSpPr>
          <p:spPr>
            <a:xfrm rot="2198047">
              <a:off x="3510054" y="793341"/>
              <a:ext cx="140231" cy="36705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9" name="Google Shape;448;p8">
              <a:extLst>
                <a:ext uri="{FF2B5EF4-FFF2-40B4-BE49-F238E27FC236}">
                  <a16:creationId xmlns:a16="http://schemas.microsoft.com/office/drawing/2014/main" id="{EA8D5DE9-AF42-D7F7-6E39-3598C6211B94}"/>
                </a:ext>
              </a:extLst>
            </p:cNvPr>
            <p:cNvSpPr/>
            <p:nvPr/>
          </p:nvSpPr>
          <p:spPr>
            <a:xfrm rot="9906392">
              <a:off x="7295836" y="1033664"/>
              <a:ext cx="191420" cy="182909"/>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0" name="Google Shape;449;p8">
              <a:extLst>
                <a:ext uri="{FF2B5EF4-FFF2-40B4-BE49-F238E27FC236}">
                  <a16:creationId xmlns:a16="http://schemas.microsoft.com/office/drawing/2014/main" id="{86CBCA0D-2D0E-5A1A-1187-66A737FFFF97}"/>
                </a:ext>
              </a:extLst>
            </p:cNvPr>
            <p:cNvSpPr/>
            <p:nvPr/>
          </p:nvSpPr>
          <p:spPr>
            <a:xfrm>
              <a:off x="301831" y="611168"/>
              <a:ext cx="314135" cy="349552"/>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1" name="Google Shape;450;p8">
              <a:extLst>
                <a:ext uri="{FF2B5EF4-FFF2-40B4-BE49-F238E27FC236}">
                  <a16:creationId xmlns:a16="http://schemas.microsoft.com/office/drawing/2014/main" id="{825F3D7B-AA92-A34F-3964-4AED60197E0B}"/>
                </a:ext>
              </a:extLst>
            </p:cNvPr>
            <p:cNvSpPr/>
            <p:nvPr/>
          </p:nvSpPr>
          <p:spPr>
            <a:xfrm>
              <a:off x="5200465" y="821938"/>
              <a:ext cx="313748" cy="356086"/>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3" name="Google Shape;451;p8">
              <a:extLst>
                <a:ext uri="{FF2B5EF4-FFF2-40B4-BE49-F238E27FC236}">
                  <a16:creationId xmlns:a16="http://schemas.microsoft.com/office/drawing/2014/main" id="{4D4B06CB-76BC-F6E1-F9DF-B4F737F7A106}"/>
                </a:ext>
              </a:extLst>
            </p:cNvPr>
            <p:cNvSpPr/>
            <p:nvPr/>
          </p:nvSpPr>
          <p:spPr>
            <a:xfrm rot="-988374">
              <a:off x="8793699" y="981136"/>
              <a:ext cx="395858" cy="320125"/>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4" name="Google Shape;452;p8">
              <a:extLst>
                <a:ext uri="{FF2B5EF4-FFF2-40B4-BE49-F238E27FC236}">
                  <a16:creationId xmlns:a16="http://schemas.microsoft.com/office/drawing/2014/main" id="{B84E5714-A108-B7C2-0BED-31F03E786332}"/>
                </a:ext>
              </a:extLst>
            </p:cNvPr>
            <p:cNvSpPr/>
            <p:nvPr/>
          </p:nvSpPr>
          <p:spPr>
            <a:xfrm rot="1179229">
              <a:off x="6978602" y="547675"/>
              <a:ext cx="347146" cy="378286"/>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5" name="Google Shape;453;p8">
              <a:extLst>
                <a:ext uri="{FF2B5EF4-FFF2-40B4-BE49-F238E27FC236}">
                  <a16:creationId xmlns:a16="http://schemas.microsoft.com/office/drawing/2014/main" id="{32AB0F23-3FF9-4D16-B8AA-47B09224A7FF}"/>
                </a:ext>
              </a:extLst>
            </p:cNvPr>
            <p:cNvSpPr/>
            <p:nvPr/>
          </p:nvSpPr>
          <p:spPr>
            <a:xfrm>
              <a:off x="980841" y="910413"/>
              <a:ext cx="326644" cy="367792"/>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6" name="Google Shape;454;p8">
              <a:extLst>
                <a:ext uri="{FF2B5EF4-FFF2-40B4-BE49-F238E27FC236}">
                  <a16:creationId xmlns:a16="http://schemas.microsoft.com/office/drawing/2014/main" id="{035EA3FB-BCE8-31FA-120B-21AA122720EB}"/>
                </a:ext>
              </a:extLst>
            </p:cNvPr>
            <p:cNvSpPr/>
            <p:nvPr/>
          </p:nvSpPr>
          <p:spPr>
            <a:xfrm>
              <a:off x="8699186" y="523462"/>
              <a:ext cx="403969" cy="323646"/>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7" name="Google Shape;455;p8">
              <a:extLst>
                <a:ext uri="{FF2B5EF4-FFF2-40B4-BE49-F238E27FC236}">
                  <a16:creationId xmlns:a16="http://schemas.microsoft.com/office/drawing/2014/main" id="{CF76B1C8-4C7C-E6EB-AD31-5B32BF64B9FD}"/>
                </a:ext>
              </a:extLst>
            </p:cNvPr>
            <p:cNvSpPr/>
            <p:nvPr/>
          </p:nvSpPr>
          <p:spPr>
            <a:xfrm>
              <a:off x="6870722" y="1009504"/>
              <a:ext cx="256151" cy="229019"/>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8" name="Google Shape;456;p8">
              <a:extLst>
                <a:ext uri="{FF2B5EF4-FFF2-40B4-BE49-F238E27FC236}">
                  <a16:creationId xmlns:a16="http://schemas.microsoft.com/office/drawing/2014/main" id="{72033037-55B3-5167-7511-2A1043022C3E}"/>
                </a:ext>
              </a:extLst>
            </p:cNvPr>
            <p:cNvSpPr/>
            <p:nvPr/>
          </p:nvSpPr>
          <p:spPr>
            <a:xfrm rot="-2424567">
              <a:off x="1204048" y="475241"/>
              <a:ext cx="211213" cy="278694"/>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9" name="Google Shape;457;p8">
              <a:extLst>
                <a:ext uri="{FF2B5EF4-FFF2-40B4-BE49-F238E27FC236}">
                  <a16:creationId xmlns:a16="http://schemas.microsoft.com/office/drawing/2014/main" id="{90845802-E71B-775E-0EE6-6F6A20A8EA8E}"/>
                </a:ext>
              </a:extLst>
            </p:cNvPr>
            <p:cNvSpPr/>
            <p:nvPr/>
          </p:nvSpPr>
          <p:spPr>
            <a:xfrm>
              <a:off x="7556769" y="607048"/>
              <a:ext cx="402022" cy="236475"/>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1" name="Google Shape;458;p8">
              <a:extLst>
                <a:ext uri="{FF2B5EF4-FFF2-40B4-BE49-F238E27FC236}">
                  <a16:creationId xmlns:a16="http://schemas.microsoft.com/office/drawing/2014/main" id="{1E2245E5-1C0E-B442-F948-DF3FD3650500}"/>
                </a:ext>
              </a:extLst>
            </p:cNvPr>
            <p:cNvGrpSpPr/>
            <p:nvPr/>
          </p:nvGrpSpPr>
          <p:grpSpPr>
            <a:xfrm rot="890855">
              <a:off x="3181660" y="515636"/>
              <a:ext cx="370663" cy="217580"/>
              <a:chOff x="1429156" y="1387535"/>
              <a:chExt cx="657769" cy="386112"/>
            </a:xfrm>
          </p:grpSpPr>
          <p:sp>
            <p:nvSpPr>
              <p:cNvPr id="68" name="Google Shape;459;p8">
                <a:extLst>
                  <a:ext uri="{FF2B5EF4-FFF2-40B4-BE49-F238E27FC236}">
                    <a16:creationId xmlns:a16="http://schemas.microsoft.com/office/drawing/2014/main" id="{461E8954-CC4F-3669-394B-F8F4ECD21E0B}"/>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9" name="Google Shape;460;p8">
                <a:extLst>
                  <a:ext uri="{FF2B5EF4-FFF2-40B4-BE49-F238E27FC236}">
                    <a16:creationId xmlns:a16="http://schemas.microsoft.com/office/drawing/2014/main" id="{79174660-2893-2F40-042B-30B653976A8C}"/>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2" name="Google Shape;461;p8">
              <a:extLst>
                <a:ext uri="{FF2B5EF4-FFF2-40B4-BE49-F238E27FC236}">
                  <a16:creationId xmlns:a16="http://schemas.microsoft.com/office/drawing/2014/main" id="{931588A4-5A8F-F366-0921-71D8B6B77DEB}"/>
                </a:ext>
              </a:extLst>
            </p:cNvPr>
            <p:cNvSpPr/>
            <p:nvPr/>
          </p:nvSpPr>
          <p:spPr>
            <a:xfrm rot="-2499483">
              <a:off x="4165391" y="919169"/>
              <a:ext cx="428994" cy="113072"/>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3" name="Google Shape;462;p8">
              <a:extLst>
                <a:ext uri="{FF2B5EF4-FFF2-40B4-BE49-F238E27FC236}">
                  <a16:creationId xmlns:a16="http://schemas.microsoft.com/office/drawing/2014/main" id="{4885F102-3501-B493-01A2-16A63A43491B}"/>
                </a:ext>
              </a:extLst>
            </p:cNvPr>
            <p:cNvSpPr/>
            <p:nvPr/>
          </p:nvSpPr>
          <p:spPr>
            <a:xfrm>
              <a:off x="674582" y="523294"/>
              <a:ext cx="375105" cy="294447"/>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4" name="Google Shape;463;p8">
              <a:extLst>
                <a:ext uri="{FF2B5EF4-FFF2-40B4-BE49-F238E27FC236}">
                  <a16:creationId xmlns:a16="http://schemas.microsoft.com/office/drawing/2014/main" id="{ED058847-E9F0-84D1-90DE-54519BF8FA63}"/>
                </a:ext>
              </a:extLst>
            </p:cNvPr>
            <p:cNvGrpSpPr/>
            <p:nvPr/>
          </p:nvGrpSpPr>
          <p:grpSpPr>
            <a:xfrm>
              <a:off x="3707787" y="505390"/>
              <a:ext cx="212392" cy="256778"/>
              <a:chOff x="1010452" y="1144365"/>
              <a:chExt cx="376916" cy="455685"/>
            </a:xfrm>
          </p:grpSpPr>
          <p:sp>
            <p:nvSpPr>
              <p:cNvPr id="66" name="Google Shape;464;p8">
                <a:extLst>
                  <a:ext uri="{FF2B5EF4-FFF2-40B4-BE49-F238E27FC236}">
                    <a16:creationId xmlns:a16="http://schemas.microsoft.com/office/drawing/2014/main" id="{829B75EE-17B5-E844-1DAD-1AFBD8763864}"/>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7" name="Google Shape;465;p8">
                <a:extLst>
                  <a:ext uri="{FF2B5EF4-FFF2-40B4-BE49-F238E27FC236}">
                    <a16:creationId xmlns:a16="http://schemas.microsoft.com/office/drawing/2014/main" id="{2CE87C1F-F561-0299-4708-6D8D87A1F33B}"/>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5" name="Google Shape;466;p8">
              <a:extLst>
                <a:ext uri="{FF2B5EF4-FFF2-40B4-BE49-F238E27FC236}">
                  <a16:creationId xmlns:a16="http://schemas.microsoft.com/office/drawing/2014/main" id="{6060BA1A-FEAF-52DB-097D-0B044ECB09FA}"/>
                </a:ext>
              </a:extLst>
            </p:cNvPr>
            <p:cNvSpPr/>
            <p:nvPr/>
          </p:nvSpPr>
          <p:spPr>
            <a:xfrm rot="-1100489">
              <a:off x="8420309" y="672386"/>
              <a:ext cx="223722" cy="226855"/>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6" name="Google Shape;467;p8">
              <a:extLst>
                <a:ext uri="{FF2B5EF4-FFF2-40B4-BE49-F238E27FC236}">
                  <a16:creationId xmlns:a16="http://schemas.microsoft.com/office/drawing/2014/main" id="{E328C474-73DB-CFBC-529C-7E1F52296823}"/>
                </a:ext>
              </a:extLst>
            </p:cNvPr>
            <p:cNvSpPr/>
            <p:nvPr/>
          </p:nvSpPr>
          <p:spPr>
            <a:xfrm>
              <a:off x="3572521" y="981550"/>
              <a:ext cx="255529" cy="288428"/>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7" name="Google Shape;468;p8">
              <a:extLst>
                <a:ext uri="{FF2B5EF4-FFF2-40B4-BE49-F238E27FC236}">
                  <a16:creationId xmlns:a16="http://schemas.microsoft.com/office/drawing/2014/main" id="{6A9AEF88-FDE4-22A8-D742-05237F3752AB}"/>
                </a:ext>
              </a:extLst>
            </p:cNvPr>
            <p:cNvSpPr/>
            <p:nvPr/>
          </p:nvSpPr>
          <p:spPr>
            <a:xfrm rot="1800079">
              <a:off x="8229930" y="1002016"/>
              <a:ext cx="198020" cy="248076"/>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8" name="Google Shape;469;p8">
              <a:extLst>
                <a:ext uri="{FF2B5EF4-FFF2-40B4-BE49-F238E27FC236}">
                  <a16:creationId xmlns:a16="http://schemas.microsoft.com/office/drawing/2014/main" id="{BAAF229B-9B71-4E61-8579-ED65061C4580}"/>
                </a:ext>
              </a:extLst>
            </p:cNvPr>
            <p:cNvSpPr/>
            <p:nvPr/>
          </p:nvSpPr>
          <p:spPr>
            <a:xfrm>
              <a:off x="3943429" y="927518"/>
              <a:ext cx="163399" cy="25729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9" name="Google Shape;470;p8">
              <a:extLst>
                <a:ext uri="{FF2B5EF4-FFF2-40B4-BE49-F238E27FC236}">
                  <a16:creationId xmlns:a16="http://schemas.microsoft.com/office/drawing/2014/main" id="{9BD9E621-2F07-90E6-D2B1-3E08D948CE6E}"/>
                </a:ext>
              </a:extLst>
            </p:cNvPr>
            <p:cNvSpPr/>
            <p:nvPr/>
          </p:nvSpPr>
          <p:spPr>
            <a:xfrm>
              <a:off x="4038156" y="505004"/>
              <a:ext cx="340006" cy="361563"/>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0" name="Google Shape;471;p8">
              <a:extLst>
                <a:ext uri="{FF2B5EF4-FFF2-40B4-BE49-F238E27FC236}">
                  <a16:creationId xmlns:a16="http://schemas.microsoft.com/office/drawing/2014/main" id="{27AAF84B-D1D6-7D9A-330C-1F6CC7FA1E6C}"/>
                </a:ext>
              </a:extLst>
            </p:cNvPr>
            <p:cNvSpPr/>
            <p:nvPr/>
          </p:nvSpPr>
          <p:spPr>
            <a:xfrm>
              <a:off x="2854633" y="688547"/>
              <a:ext cx="416637" cy="25970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1" name="Google Shape;472;p8">
              <a:extLst>
                <a:ext uri="{FF2B5EF4-FFF2-40B4-BE49-F238E27FC236}">
                  <a16:creationId xmlns:a16="http://schemas.microsoft.com/office/drawing/2014/main" id="{83F753A7-F20D-A772-FC7B-480BC7C8344A}"/>
                </a:ext>
              </a:extLst>
            </p:cNvPr>
            <p:cNvSpPr/>
            <p:nvPr/>
          </p:nvSpPr>
          <p:spPr>
            <a:xfrm rot="-1252057">
              <a:off x="6497159" y="534061"/>
              <a:ext cx="204722" cy="302187"/>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2" name="Google Shape;473;p8">
              <a:extLst>
                <a:ext uri="{FF2B5EF4-FFF2-40B4-BE49-F238E27FC236}">
                  <a16:creationId xmlns:a16="http://schemas.microsoft.com/office/drawing/2014/main" id="{6211C545-A10A-D548-9B30-B61DC8087837}"/>
                </a:ext>
              </a:extLst>
            </p:cNvPr>
            <p:cNvSpPr/>
            <p:nvPr/>
          </p:nvSpPr>
          <p:spPr>
            <a:xfrm>
              <a:off x="2537776" y="539860"/>
              <a:ext cx="230803" cy="290180"/>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3" name="Google Shape;474;p8">
              <a:extLst>
                <a:ext uri="{FF2B5EF4-FFF2-40B4-BE49-F238E27FC236}">
                  <a16:creationId xmlns:a16="http://schemas.microsoft.com/office/drawing/2014/main" id="{B6DAB5D5-FA90-53BB-CE13-A028EB9CA889}"/>
                </a:ext>
              </a:extLst>
            </p:cNvPr>
            <p:cNvSpPr/>
            <p:nvPr/>
          </p:nvSpPr>
          <p:spPr>
            <a:xfrm>
              <a:off x="5713194" y="743996"/>
              <a:ext cx="256984" cy="24403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4" name="Google Shape;475;p8">
              <a:extLst>
                <a:ext uri="{FF2B5EF4-FFF2-40B4-BE49-F238E27FC236}">
                  <a16:creationId xmlns:a16="http://schemas.microsoft.com/office/drawing/2014/main" id="{59BAAAEB-DE29-EA2C-8403-FA647E29422A}"/>
                </a:ext>
              </a:extLst>
            </p:cNvPr>
            <p:cNvSpPr/>
            <p:nvPr/>
          </p:nvSpPr>
          <p:spPr>
            <a:xfrm>
              <a:off x="2507283" y="945803"/>
              <a:ext cx="99390" cy="211075"/>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5" name="Google Shape;476;p8">
              <a:extLst>
                <a:ext uri="{FF2B5EF4-FFF2-40B4-BE49-F238E27FC236}">
                  <a16:creationId xmlns:a16="http://schemas.microsoft.com/office/drawing/2014/main" id="{0EF91B24-8334-C410-E77F-0C6C6684DB46}"/>
                </a:ext>
              </a:extLst>
            </p:cNvPr>
            <p:cNvSpPr/>
            <p:nvPr/>
          </p:nvSpPr>
          <p:spPr>
            <a:xfrm>
              <a:off x="8045390" y="829868"/>
              <a:ext cx="135793" cy="114511"/>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6" name="Google Shape;477;p8">
              <a:extLst>
                <a:ext uri="{FF2B5EF4-FFF2-40B4-BE49-F238E27FC236}">
                  <a16:creationId xmlns:a16="http://schemas.microsoft.com/office/drawing/2014/main" id="{31422C45-6452-D665-12FE-E675520DCEF2}"/>
                </a:ext>
              </a:extLst>
            </p:cNvPr>
            <p:cNvSpPr/>
            <p:nvPr/>
          </p:nvSpPr>
          <p:spPr>
            <a:xfrm>
              <a:off x="5019180" y="1018026"/>
              <a:ext cx="99190" cy="9853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7" name="Google Shape;478;p8">
              <a:extLst>
                <a:ext uri="{FF2B5EF4-FFF2-40B4-BE49-F238E27FC236}">
                  <a16:creationId xmlns:a16="http://schemas.microsoft.com/office/drawing/2014/main" id="{39166CF2-4FEA-5962-937D-8A8B2DB637B1}"/>
                </a:ext>
              </a:extLst>
            </p:cNvPr>
            <p:cNvSpPr/>
            <p:nvPr/>
          </p:nvSpPr>
          <p:spPr>
            <a:xfrm rot="9301126">
              <a:off x="6297718" y="732778"/>
              <a:ext cx="123698" cy="266216"/>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8" name="Google Shape;479;p8">
              <a:extLst>
                <a:ext uri="{FF2B5EF4-FFF2-40B4-BE49-F238E27FC236}">
                  <a16:creationId xmlns:a16="http://schemas.microsoft.com/office/drawing/2014/main" id="{69A486C9-9266-DB51-6E08-319B319AB42E}"/>
                </a:ext>
              </a:extLst>
            </p:cNvPr>
            <p:cNvSpPr/>
            <p:nvPr/>
          </p:nvSpPr>
          <p:spPr>
            <a:xfrm>
              <a:off x="1756780" y="575182"/>
              <a:ext cx="134585" cy="137354"/>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9" name="Google Shape;480;p8">
              <a:extLst>
                <a:ext uri="{FF2B5EF4-FFF2-40B4-BE49-F238E27FC236}">
                  <a16:creationId xmlns:a16="http://schemas.microsoft.com/office/drawing/2014/main" id="{74F9AE73-B534-1B23-B85D-E46EEBADBD77}"/>
                </a:ext>
              </a:extLst>
            </p:cNvPr>
            <p:cNvSpPr/>
            <p:nvPr/>
          </p:nvSpPr>
          <p:spPr>
            <a:xfrm>
              <a:off x="4716478" y="737980"/>
              <a:ext cx="145419" cy="160635"/>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0" name="Google Shape;481;p8">
              <a:extLst>
                <a:ext uri="{FF2B5EF4-FFF2-40B4-BE49-F238E27FC236}">
                  <a16:creationId xmlns:a16="http://schemas.microsoft.com/office/drawing/2014/main" id="{2449B3AF-A7E3-5B77-169D-30EF76A118D9}"/>
                </a:ext>
              </a:extLst>
            </p:cNvPr>
            <p:cNvSpPr/>
            <p:nvPr/>
          </p:nvSpPr>
          <p:spPr>
            <a:xfrm>
              <a:off x="1639378" y="819333"/>
              <a:ext cx="126045" cy="135687"/>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1" name="Google Shape;482;p8">
              <a:extLst>
                <a:ext uri="{FF2B5EF4-FFF2-40B4-BE49-F238E27FC236}">
                  <a16:creationId xmlns:a16="http://schemas.microsoft.com/office/drawing/2014/main" id="{5E8EB8D5-30ED-EA7B-3E87-EAC317C4355A}"/>
                </a:ext>
              </a:extLst>
            </p:cNvPr>
            <p:cNvSpPr/>
            <p:nvPr/>
          </p:nvSpPr>
          <p:spPr>
            <a:xfrm>
              <a:off x="8172573" y="555140"/>
              <a:ext cx="115263" cy="15729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2" name="Google Shape;483;p8">
              <a:extLst>
                <a:ext uri="{FF2B5EF4-FFF2-40B4-BE49-F238E27FC236}">
                  <a16:creationId xmlns:a16="http://schemas.microsoft.com/office/drawing/2014/main" id="{6AFC27F9-785A-F520-004D-6C2FACF71834}"/>
                </a:ext>
              </a:extLst>
            </p:cNvPr>
            <p:cNvSpPr/>
            <p:nvPr/>
          </p:nvSpPr>
          <p:spPr>
            <a:xfrm>
              <a:off x="4481735" y="547509"/>
              <a:ext cx="87093" cy="153839"/>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3" name="Google Shape;484;p8">
              <a:extLst>
                <a:ext uri="{FF2B5EF4-FFF2-40B4-BE49-F238E27FC236}">
                  <a16:creationId xmlns:a16="http://schemas.microsoft.com/office/drawing/2014/main" id="{C9E04ECC-AF4B-AFCD-C4F1-AA2E09FAB84D}"/>
                </a:ext>
              </a:extLst>
            </p:cNvPr>
            <p:cNvSpPr/>
            <p:nvPr/>
          </p:nvSpPr>
          <p:spPr>
            <a:xfrm>
              <a:off x="2048182" y="505004"/>
              <a:ext cx="126077" cy="173483"/>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4" name="Google Shape;485;p8">
              <a:extLst>
                <a:ext uri="{FF2B5EF4-FFF2-40B4-BE49-F238E27FC236}">
                  <a16:creationId xmlns:a16="http://schemas.microsoft.com/office/drawing/2014/main" id="{3AF80C36-027C-70BC-FE35-9B5D22FAA457}"/>
                </a:ext>
              </a:extLst>
            </p:cNvPr>
            <p:cNvSpPr/>
            <p:nvPr/>
          </p:nvSpPr>
          <p:spPr>
            <a:xfrm>
              <a:off x="126658" y="1006747"/>
              <a:ext cx="126356" cy="163706"/>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5" name="Google Shape;486;p8">
              <a:extLst>
                <a:ext uri="{FF2B5EF4-FFF2-40B4-BE49-F238E27FC236}">
                  <a16:creationId xmlns:a16="http://schemas.microsoft.com/office/drawing/2014/main" id="{C5FD2658-E50D-8F84-305B-3B6E4E40E7B1}"/>
                </a:ext>
              </a:extLst>
            </p:cNvPr>
            <p:cNvGrpSpPr/>
            <p:nvPr/>
          </p:nvGrpSpPr>
          <p:grpSpPr>
            <a:xfrm>
              <a:off x="7836651" y="987182"/>
              <a:ext cx="121750" cy="155749"/>
              <a:chOff x="6422295" y="3351500"/>
              <a:chExt cx="252856" cy="323399"/>
            </a:xfrm>
          </p:grpSpPr>
          <p:sp>
            <p:nvSpPr>
              <p:cNvPr id="64" name="Google Shape;487;p8">
                <a:extLst>
                  <a:ext uri="{FF2B5EF4-FFF2-40B4-BE49-F238E27FC236}">
                    <a16:creationId xmlns:a16="http://schemas.microsoft.com/office/drawing/2014/main" id="{45FA5A17-90FB-9FA1-9E45-E35BB19E7062}"/>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5" name="Google Shape;488;p8">
                <a:extLst>
                  <a:ext uri="{FF2B5EF4-FFF2-40B4-BE49-F238E27FC236}">
                    <a16:creationId xmlns:a16="http://schemas.microsoft.com/office/drawing/2014/main" id="{6CD30064-11FF-4B33-95AD-B621EADA8C0E}"/>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6" name="Google Shape;489;p8">
              <a:extLst>
                <a:ext uri="{FF2B5EF4-FFF2-40B4-BE49-F238E27FC236}">
                  <a16:creationId xmlns:a16="http://schemas.microsoft.com/office/drawing/2014/main" id="{39B4B781-90E4-FCD0-7D26-F091D0B7DD8A}"/>
                </a:ext>
              </a:extLst>
            </p:cNvPr>
            <p:cNvSpPr/>
            <p:nvPr/>
          </p:nvSpPr>
          <p:spPr>
            <a:xfrm>
              <a:off x="1353734" y="881315"/>
              <a:ext cx="187420" cy="190001"/>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7" name="Google Shape;490;p8">
              <a:extLst>
                <a:ext uri="{FF2B5EF4-FFF2-40B4-BE49-F238E27FC236}">
                  <a16:creationId xmlns:a16="http://schemas.microsoft.com/office/drawing/2014/main" id="{0286F879-90A7-8EE8-2480-D64183395BE7}"/>
                </a:ext>
              </a:extLst>
            </p:cNvPr>
            <p:cNvSpPr/>
            <p:nvPr/>
          </p:nvSpPr>
          <p:spPr>
            <a:xfrm>
              <a:off x="6088369" y="586056"/>
              <a:ext cx="149720" cy="115699"/>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8" name="Google Shape;491;p8">
              <a:extLst>
                <a:ext uri="{FF2B5EF4-FFF2-40B4-BE49-F238E27FC236}">
                  <a16:creationId xmlns:a16="http://schemas.microsoft.com/office/drawing/2014/main" id="{3B87DA0F-3C0E-50B0-6E09-2E73CEDFAA17}"/>
                </a:ext>
              </a:extLst>
            </p:cNvPr>
            <p:cNvGrpSpPr/>
            <p:nvPr/>
          </p:nvGrpSpPr>
          <p:grpSpPr>
            <a:xfrm>
              <a:off x="3137402" y="1006079"/>
              <a:ext cx="129429" cy="165162"/>
              <a:chOff x="6793660" y="3322411"/>
              <a:chExt cx="268804" cy="342944"/>
            </a:xfrm>
          </p:grpSpPr>
          <p:sp>
            <p:nvSpPr>
              <p:cNvPr id="61" name="Google Shape;492;p8">
                <a:extLst>
                  <a:ext uri="{FF2B5EF4-FFF2-40B4-BE49-F238E27FC236}">
                    <a16:creationId xmlns:a16="http://schemas.microsoft.com/office/drawing/2014/main" id="{09A30AA5-8947-DA2F-5AA9-7CE0B6F1817F}"/>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2" name="Google Shape;493;p8">
                <a:extLst>
                  <a:ext uri="{FF2B5EF4-FFF2-40B4-BE49-F238E27FC236}">
                    <a16:creationId xmlns:a16="http://schemas.microsoft.com/office/drawing/2014/main" id="{B43B4ADC-712D-70EC-164B-ABCD56729CA2}"/>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3" name="Google Shape;494;p8">
                <a:extLst>
                  <a:ext uri="{FF2B5EF4-FFF2-40B4-BE49-F238E27FC236}">
                    <a16:creationId xmlns:a16="http://schemas.microsoft.com/office/drawing/2014/main" id="{31FA6816-6B59-84DC-6986-F2C4476AF592}"/>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9" name="Google Shape;495;p8">
              <a:extLst>
                <a:ext uri="{FF2B5EF4-FFF2-40B4-BE49-F238E27FC236}">
                  <a16:creationId xmlns:a16="http://schemas.microsoft.com/office/drawing/2014/main" id="{EB362976-8EF7-693A-32D4-B61A689335BD}"/>
                </a:ext>
              </a:extLst>
            </p:cNvPr>
            <p:cNvSpPr/>
            <p:nvPr/>
          </p:nvSpPr>
          <p:spPr>
            <a:xfrm>
              <a:off x="2776508" y="1006744"/>
              <a:ext cx="212021" cy="115156"/>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0" name="Google Shape;496;p8">
              <a:extLst>
                <a:ext uri="{FF2B5EF4-FFF2-40B4-BE49-F238E27FC236}">
                  <a16:creationId xmlns:a16="http://schemas.microsoft.com/office/drawing/2014/main" id="{4FFEE3C3-DD9B-CAF4-6837-955F60D1CBEC}"/>
                </a:ext>
              </a:extLst>
            </p:cNvPr>
            <p:cNvSpPr/>
            <p:nvPr/>
          </p:nvSpPr>
          <p:spPr>
            <a:xfrm rot="1466637">
              <a:off x="5246242" y="579297"/>
              <a:ext cx="132710" cy="129208"/>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0673400" y="12181875"/>
            <a:ext cx="626400" cy="108000"/>
          </a:xfrm>
        </p:spPr>
        <p:txBody>
          <a:bodyPr/>
          <a:lstStyle/>
          <a:p>
            <a:fld id="{23AA811B-2EBD-4900-905E-5BE206449611}" type="slidenum">
              <a:rPr lang="da-DK" smtClean="0"/>
              <a:pPr/>
              <a:t>1</a:t>
            </a:fld>
            <a:endParaRPr lang="da-DK"/>
          </a:p>
        </p:txBody>
      </p:sp>
      <p:sp>
        <p:nvSpPr>
          <p:cNvPr id="13" name="Rectangle 12">
            <a:extLst>
              <a:ext uri="{FF2B5EF4-FFF2-40B4-BE49-F238E27FC236}">
                <a16:creationId xmlns:a16="http://schemas.microsoft.com/office/drawing/2014/main" id="{70764143-FD74-4911-BC3C-876E229F418E}"/>
              </a:ext>
            </a:extLst>
          </p:cNvPr>
          <p:cNvSpPr/>
          <p:nvPr/>
        </p:nvSpPr>
        <p:spPr>
          <a:xfrm>
            <a:off x="-533400" y="9460722"/>
            <a:ext cx="11833200" cy="1947762"/>
          </a:xfrm>
          <a:prstGeom prst="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 name="Google Shape;741;p19">
            <a:extLst>
              <a:ext uri="{FF2B5EF4-FFF2-40B4-BE49-F238E27FC236}">
                <a16:creationId xmlns:a16="http://schemas.microsoft.com/office/drawing/2014/main" id="{5D8B3674-E05D-FFE8-509D-72F6614D164C}"/>
              </a:ext>
            </a:extLst>
          </p:cNvPr>
          <p:cNvSpPr txBox="1">
            <a:spLocks/>
          </p:cNvSpPr>
          <p:nvPr/>
        </p:nvSpPr>
        <p:spPr>
          <a:xfrm>
            <a:off x="1048401" y="2320411"/>
            <a:ext cx="10170646" cy="308532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defTabSz="1219170">
              <a:lnSpc>
                <a:spcPct val="100000"/>
              </a:lnSpc>
              <a:buClr>
                <a:srgbClr val="273F68"/>
              </a:buClr>
            </a:pPr>
            <a:r>
              <a:rPr kumimoji="0" lang="da-DK" sz="1400" b="0" i="0" u="none" strike="noStrike" kern="0" cap="none" spc="0" normalizeH="0" baseline="0" noProof="0" dirty="0">
                <a:ln>
                  <a:noFill/>
                </a:ln>
                <a:solidFill>
                  <a:schemeClr val="bg1"/>
                </a:solidFill>
                <a:effectLst/>
                <a:uLnTx/>
                <a:uFillTx/>
                <a:latin typeface="Quicksand"/>
                <a:ea typeface="+mn-ea"/>
                <a:cs typeface="+mn-cs"/>
              </a:rPr>
              <a:t>I denne slidepakke finder I </a:t>
            </a:r>
            <a:r>
              <a:rPr kumimoji="0" lang="da-DK" sz="1400" i="0" u="none" strike="noStrike" kern="0" cap="none" spc="0" normalizeH="0" baseline="0" noProof="0" dirty="0">
                <a:ln>
                  <a:noFill/>
                </a:ln>
                <a:solidFill>
                  <a:schemeClr val="accent2">
                    <a:lumMod val="40000"/>
                    <a:lumOff val="60000"/>
                  </a:schemeClr>
                </a:solidFill>
                <a:effectLst/>
                <a:uLnTx/>
                <a:uFillTx/>
                <a:latin typeface="Quicksand"/>
                <a:ea typeface="+mn-ea"/>
                <a:cs typeface="+mn-cs"/>
              </a:rPr>
              <a:t>tre procesgreb</a:t>
            </a:r>
            <a:r>
              <a:rPr kumimoji="0" lang="da-DK" sz="1400" b="0" i="0" u="none" strike="noStrike" kern="0" cap="none" spc="0" normalizeH="0" baseline="0" noProof="0" dirty="0">
                <a:ln>
                  <a:noFill/>
                </a:ln>
                <a:solidFill>
                  <a:schemeClr val="bg1"/>
                </a:solidFill>
                <a:effectLst/>
                <a:uLnTx/>
                <a:uFillTx/>
                <a:latin typeface="Quicksand"/>
                <a:ea typeface="+mn-ea"/>
                <a:cs typeface="+mn-cs"/>
              </a:rPr>
              <a:t>, I som forvaltning kan bruge til</a:t>
            </a:r>
            <a:r>
              <a:rPr lang="da-DK" sz="1400" b="0" kern="0" dirty="0">
                <a:solidFill>
                  <a:schemeClr val="bg1"/>
                </a:solidFill>
                <a:latin typeface="Quicksand"/>
                <a:ea typeface="+mn-ea"/>
                <a:cs typeface="+mn-cs"/>
              </a:rPr>
              <a:t> at understøtte den enkelte skole i at arbejde med </a:t>
            </a:r>
            <a:br>
              <a:rPr lang="da-DK" sz="1400" b="0" kern="0" dirty="0">
                <a:solidFill>
                  <a:schemeClr val="bg1"/>
                </a:solidFill>
                <a:latin typeface="Quicksand"/>
                <a:ea typeface="+mn-ea"/>
                <a:cs typeface="+mn-cs"/>
              </a:rPr>
            </a:br>
            <a:r>
              <a:rPr kumimoji="0" lang="da-DK" sz="1400" b="0" i="0" u="none" strike="noStrike" kern="0" cap="none" spc="0" normalizeH="0" baseline="0" noProof="0" dirty="0">
                <a:ln>
                  <a:noFill/>
                </a:ln>
                <a:solidFill>
                  <a:schemeClr val="bg1"/>
                </a:solidFill>
                <a:effectLst/>
                <a:uLnTx/>
                <a:uFillTx/>
                <a:latin typeface="Quicksand"/>
                <a:ea typeface="+mn-ea"/>
                <a:cs typeface="+mn-cs"/>
              </a:rPr>
              <a:t>resultaterne af evalueringen. Evalueringsresultaterne finder I </a:t>
            </a:r>
            <a:r>
              <a:rPr kumimoji="0" lang="da-DK" sz="1400" b="0" i="0" u="none" strike="noStrike" kern="0" cap="none" spc="0" normalizeH="0" baseline="0" noProof="0" dirty="0" err="1">
                <a:ln>
                  <a:noFill/>
                </a:ln>
                <a:solidFill>
                  <a:schemeClr val="bg1"/>
                </a:solidFill>
                <a:effectLst/>
                <a:uLnTx/>
                <a:uFillTx/>
                <a:latin typeface="Quicksand"/>
                <a:ea typeface="+mn-ea"/>
                <a:cs typeface="+mn-cs"/>
              </a:rPr>
              <a:t>i</a:t>
            </a:r>
            <a:r>
              <a:rPr kumimoji="0" lang="da-DK" sz="1400" b="0" i="0" u="none" strike="noStrike" kern="0" cap="none" spc="0" normalizeH="0" baseline="0" noProof="0" dirty="0">
                <a:ln>
                  <a:noFill/>
                </a:ln>
                <a:solidFill>
                  <a:schemeClr val="bg1"/>
                </a:solidFill>
                <a:effectLst/>
                <a:uLnTx/>
                <a:uFillTx/>
                <a:latin typeface="Quicksand"/>
                <a:ea typeface="+mn-ea"/>
                <a:cs typeface="+mn-cs"/>
              </a:rPr>
              <a:t> </a:t>
            </a:r>
            <a:r>
              <a:rPr kumimoji="0" lang="da-DK" sz="1400" b="0" i="0" u="none" strike="noStrike" kern="0" cap="none" spc="0" normalizeH="0" baseline="0" noProof="0" dirty="0">
                <a:ln>
                  <a:noFill/>
                </a:ln>
                <a:solidFill>
                  <a:schemeClr val="accent2">
                    <a:lumMod val="40000"/>
                    <a:lumOff val="60000"/>
                  </a:schemeClr>
                </a:solidFill>
                <a:effectLst/>
                <a:uLnTx/>
                <a:uFillTx/>
                <a:latin typeface="Quicksand"/>
                <a:ea typeface="+mn-ea"/>
                <a:cs typeface="+mn-cs"/>
              </a:rPr>
              <a:t>’</a:t>
            </a:r>
            <a:r>
              <a:rPr lang="da-DK" sz="1400" kern="0" dirty="0">
                <a:solidFill>
                  <a:schemeClr val="accent2">
                    <a:lumMod val="40000"/>
                    <a:lumOff val="60000"/>
                  </a:schemeClr>
                </a:solidFill>
                <a:latin typeface="Quicksand"/>
                <a:ea typeface="+mn-ea"/>
                <a:cs typeface="+mn-cs"/>
              </a:rPr>
              <a:t>Ledelsesresumé’ </a:t>
            </a:r>
            <a:r>
              <a:rPr kumimoji="0" lang="da-DK" sz="1400" b="0" i="0" u="none" strike="noStrike" kern="0" cap="none" spc="0" normalizeH="0" baseline="0" noProof="0" dirty="0">
                <a:ln>
                  <a:noFill/>
                </a:ln>
                <a:solidFill>
                  <a:schemeClr val="bg1"/>
                </a:solidFill>
                <a:effectLst/>
                <a:uLnTx/>
                <a:uFillTx/>
                <a:latin typeface="Quicksand"/>
                <a:ea typeface="+mn-ea"/>
                <a:cs typeface="+mn-cs"/>
              </a:rPr>
              <a:t>og </a:t>
            </a:r>
            <a:r>
              <a:rPr kumimoji="0" lang="da-DK" sz="1400" b="0" i="0" u="none" strike="noStrike" kern="0" cap="none" spc="0" normalizeH="0" baseline="0" noProof="0" dirty="0">
                <a:ln>
                  <a:noFill/>
                </a:ln>
                <a:solidFill>
                  <a:schemeClr val="accent2">
                    <a:lumMod val="40000"/>
                    <a:lumOff val="60000"/>
                  </a:schemeClr>
                </a:solidFill>
                <a:effectLst/>
                <a:uLnTx/>
                <a:uFillTx/>
                <a:latin typeface="Quicksand"/>
                <a:ea typeface="+mn-ea"/>
                <a:cs typeface="+mn-cs"/>
              </a:rPr>
              <a:t>‘</a:t>
            </a:r>
            <a:r>
              <a:rPr lang="da-DK" sz="1400" kern="0" dirty="0">
                <a:solidFill>
                  <a:schemeClr val="accent2">
                    <a:lumMod val="40000"/>
                    <a:lumOff val="60000"/>
                  </a:schemeClr>
                </a:solidFill>
                <a:latin typeface="Quicksand"/>
                <a:ea typeface="+mn-ea"/>
                <a:cs typeface="+mn-cs"/>
              </a:rPr>
              <a:t>Inspirationspakke til skolerne’</a:t>
            </a:r>
            <a:r>
              <a:rPr kumimoji="0" lang="da-DK" sz="1400" b="0" i="0" u="none" strike="noStrike" kern="0" cap="none" spc="0" normalizeH="0" baseline="0" noProof="0" dirty="0">
                <a:ln>
                  <a:noFill/>
                </a:ln>
                <a:solidFill>
                  <a:schemeClr val="bg1"/>
                </a:solidFill>
                <a:effectLst/>
                <a:uLnTx/>
                <a:uFillTx/>
                <a:latin typeface="Quicksand"/>
                <a:ea typeface="+mn-ea"/>
                <a:cs typeface="+mn-cs"/>
              </a:rPr>
              <a:t>.</a:t>
            </a:r>
          </a:p>
          <a:p>
            <a:pPr defTabSz="1219170">
              <a:lnSpc>
                <a:spcPct val="100000"/>
              </a:lnSpc>
              <a:buClr>
                <a:srgbClr val="273F68"/>
              </a:buClr>
            </a:pPr>
            <a:endParaRPr kumimoji="0" lang="da-DK" sz="1400" b="0" i="0" u="none" strike="noStrike" kern="0" cap="none" spc="0" normalizeH="0" baseline="0" noProof="0" dirty="0">
              <a:ln>
                <a:noFill/>
              </a:ln>
              <a:solidFill>
                <a:schemeClr val="bg1"/>
              </a:solidFill>
              <a:effectLst/>
              <a:uLnTx/>
              <a:uFillTx/>
              <a:latin typeface="Quicksand"/>
              <a:ea typeface="+mn-ea"/>
              <a:cs typeface="+mn-cs"/>
            </a:endParaRPr>
          </a:p>
          <a:p>
            <a:pPr defTabSz="1219170">
              <a:lnSpc>
                <a:spcPct val="100000"/>
              </a:lnSpc>
              <a:buClr>
                <a:srgbClr val="273F68"/>
              </a:buClr>
            </a:pPr>
            <a:endParaRPr kumimoji="0" lang="da-DK" sz="1400" b="0" i="0" u="none" strike="noStrike" kern="0" cap="none" spc="0" normalizeH="0" baseline="0" noProof="0" dirty="0">
              <a:ln>
                <a:noFill/>
              </a:ln>
              <a:solidFill>
                <a:schemeClr val="bg1"/>
              </a:solidFill>
              <a:effectLst/>
              <a:uLnTx/>
              <a:uFillTx/>
              <a:latin typeface="Quicksand"/>
              <a:ea typeface="+mn-ea"/>
              <a:cs typeface="+mn-cs"/>
            </a:endParaRPr>
          </a:p>
          <a:p>
            <a:pPr defTabSz="1219170">
              <a:lnSpc>
                <a:spcPct val="100000"/>
              </a:lnSpc>
              <a:buClr>
                <a:srgbClr val="273F68"/>
              </a:buClr>
            </a:pPr>
            <a:r>
              <a:rPr kumimoji="0" lang="da-DK" sz="1400" b="0" i="0" u="none" strike="noStrike" kern="0" cap="none" spc="0" normalizeH="0" baseline="0" noProof="0" dirty="0">
                <a:ln>
                  <a:noFill/>
                </a:ln>
                <a:solidFill>
                  <a:schemeClr val="bg1"/>
                </a:solidFill>
                <a:effectLst/>
                <a:uLnTx/>
                <a:uFillTx/>
                <a:latin typeface="Quicksand"/>
                <a:ea typeface="+mn-ea"/>
                <a:cs typeface="+mn-cs"/>
              </a:rPr>
              <a:t>Skoleudviklingssamtaler er omdrejningspunktet for de tre procesgreb, som præsenteres på de kommende sider. </a:t>
            </a:r>
            <a:br>
              <a:rPr kumimoji="0" lang="da-DK" sz="1400" b="0" i="0" u="none" strike="noStrike" kern="0" cap="none" spc="0" normalizeH="0" baseline="0" noProof="0" dirty="0">
                <a:ln>
                  <a:noFill/>
                </a:ln>
                <a:solidFill>
                  <a:schemeClr val="bg1"/>
                </a:solidFill>
                <a:effectLst/>
                <a:uLnTx/>
                <a:uFillTx/>
                <a:latin typeface="Quicksand"/>
                <a:ea typeface="+mn-ea"/>
                <a:cs typeface="+mn-cs"/>
              </a:rPr>
            </a:br>
            <a:r>
              <a:rPr kumimoji="0" lang="da-DK" sz="1400" b="0" i="0" u="none" strike="noStrike" kern="0" cap="none" spc="0" normalizeH="0" baseline="0" noProof="0" dirty="0">
                <a:ln>
                  <a:noFill/>
                </a:ln>
                <a:solidFill>
                  <a:schemeClr val="bg1"/>
                </a:solidFill>
                <a:effectLst/>
                <a:uLnTx/>
                <a:uFillTx/>
                <a:latin typeface="Quicksand"/>
                <a:ea typeface="+mn-ea"/>
                <a:cs typeface="+mn-cs"/>
              </a:rPr>
              <a:t>Her kan I fx sætte </a:t>
            </a:r>
            <a:r>
              <a:rPr lang="da-DK" sz="1400" b="0" kern="0" dirty="0">
                <a:solidFill>
                  <a:schemeClr val="bg1"/>
                </a:solidFill>
                <a:latin typeface="Quicksand"/>
                <a:ea typeface="+mn-ea"/>
                <a:cs typeface="+mn-cs"/>
              </a:rPr>
              <a:t>fokus på </a:t>
            </a:r>
            <a:r>
              <a:rPr kumimoji="0" lang="da-DK" sz="1400" b="0" i="0" u="none" strike="noStrike" kern="0" cap="none" spc="0" normalizeH="0" baseline="0" noProof="0" dirty="0">
                <a:ln>
                  <a:noFill/>
                </a:ln>
                <a:solidFill>
                  <a:schemeClr val="bg1"/>
                </a:solidFill>
                <a:effectLst/>
                <a:uLnTx/>
                <a:uFillTx/>
                <a:latin typeface="Quicksand"/>
                <a:ea typeface="+mn-ea"/>
                <a:cs typeface="+mn-cs"/>
              </a:rPr>
              <a:t>et eller flere udvalgte temaer afhængigt af, hvad der er mest relevant for den enkelte skole at arbejde med. </a:t>
            </a:r>
            <a:br>
              <a:rPr kumimoji="0" lang="da-DK" sz="1400" b="0" i="0" u="none" strike="noStrike" kern="0" cap="none" spc="0" normalizeH="0" baseline="0" noProof="0" dirty="0">
                <a:ln>
                  <a:noFill/>
                </a:ln>
                <a:solidFill>
                  <a:schemeClr val="bg1"/>
                </a:solidFill>
                <a:effectLst/>
                <a:uLnTx/>
                <a:uFillTx/>
                <a:latin typeface="Quicksand"/>
                <a:ea typeface="+mn-ea"/>
                <a:cs typeface="+mn-cs"/>
              </a:rPr>
            </a:br>
            <a:br>
              <a:rPr kumimoji="0" lang="da-DK" sz="1400" b="0" i="0" u="none" strike="noStrike" kern="0" cap="none" spc="0" normalizeH="0" baseline="0" noProof="0" dirty="0">
                <a:ln>
                  <a:noFill/>
                </a:ln>
                <a:solidFill>
                  <a:schemeClr val="bg1"/>
                </a:solidFill>
                <a:effectLst/>
                <a:uLnTx/>
                <a:uFillTx/>
                <a:latin typeface="Quicksand"/>
                <a:ea typeface="+mn-ea"/>
                <a:cs typeface="+mn-cs"/>
              </a:rPr>
            </a:br>
            <a:r>
              <a:rPr kumimoji="0" lang="da-DK" sz="1400" b="0" i="0" u="none" strike="noStrike" kern="0" cap="none" spc="0" normalizeH="0" baseline="0" noProof="0" dirty="0">
                <a:ln>
                  <a:noFill/>
                </a:ln>
                <a:solidFill>
                  <a:schemeClr val="bg1"/>
                </a:solidFill>
                <a:effectLst/>
                <a:uLnTx/>
                <a:uFillTx/>
                <a:latin typeface="Quicksand"/>
                <a:ea typeface="+mn-ea"/>
                <a:cs typeface="+mn-cs"/>
              </a:rPr>
              <a:t>Forud for skoleudviklingssamtaler kan I med fordel gennemgå skolernes </a:t>
            </a:r>
            <a:r>
              <a:rPr kumimoji="0" lang="da-DK" sz="1400" i="0" u="none" strike="noStrike" kern="0" cap="none" spc="0" normalizeH="0" baseline="0" noProof="0" dirty="0">
                <a:ln>
                  <a:noFill/>
                </a:ln>
                <a:solidFill>
                  <a:schemeClr val="accent2">
                    <a:lumMod val="40000"/>
                    <a:lumOff val="60000"/>
                  </a:schemeClr>
                </a:solidFill>
                <a:effectLst/>
                <a:uLnTx/>
                <a:uFillTx/>
                <a:latin typeface="Quicksand"/>
                <a:ea typeface="+mn-ea"/>
                <a:cs typeface="+mn-cs"/>
              </a:rPr>
              <a:t>skolerapporter</a:t>
            </a:r>
            <a:r>
              <a:rPr kumimoji="0" lang="da-DK" sz="1400" b="0" i="0" u="none" strike="noStrike" kern="0" cap="none" spc="0" normalizeH="0" baseline="0" noProof="0" dirty="0">
                <a:ln>
                  <a:noFill/>
                </a:ln>
                <a:solidFill>
                  <a:schemeClr val="bg1"/>
                </a:solidFill>
                <a:effectLst/>
                <a:uLnTx/>
                <a:uFillTx/>
                <a:latin typeface="Quicksand"/>
                <a:ea typeface="+mn-ea"/>
                <a:cs typeface="+mn-cs"/>
              </a:rPr>
              <a:t> for at få et overblik over, </a:t>
            </a:r>
            <a:br>
              <a:rPr kumimoji="0" lang="da-DK" sz="1400" b="0" i="0" u="none" strike="noStrike" kern="0" cap="none" spc="0" normalizeH="0" baseline="0" noProof="0" dirty="0">
                <a:ln>
                  <a:noFill/>
                </a:ln>
                <a:solidFill>
                  <a:schemeClr val="bg1"/>
                </a:solidFill>
                <a:effectLst/>
                <a:uLnTx/>
                <a:uFillTx/>
                <a:latin typeface="Quicksand"/>
                <a:ea typeface="+mn-ea"/>
                <a:cs typeface="+mn-cs"/>
              </a:rPr>
            </a:br>
            <a:r>
              <a:rPr kumimoji="0" lang="da-DK" sz="1400" b="0" i="0" u="none" strike="noStrike" kern="0" cap="none" spc="0" normalizeH="0" baseline="0" noProof="0" dirty="0">
                <a:ln>
                  <a:noFill/>
                </a:ln>
                <a:solidFill>
                  <a:schemeClr val="bg1"/>
                </a:solidFill>
                <a:effectLst/>
                <a:uLnTx/>
                <a:uFillTx/>
                <a:latin typeface="Quicksand"/>
                <a:ea typeface="+mn-ea"/>
                <a:cs typeface="+mn-cs"/>
              </a:rPr>
              <a:t>hvilke data og temaer der er relevante at dykke ned i i dialogen med den enkelte skole. </a:t>
            </a:r>
            <a:br>
              <a:rPr kumimoji="0" lang="da-DK" sz="1400" b="0" i="0" u="none" strike="noStrike" kern="0" cap="none" spc="0" normalizeH="0" baseline="0" noProof="0" dirty="0">
                <a:ln>
                  <a:noFill/>
                </a:ln>
                <a:solidFill>
                  <a:schemeClr val="bg1"/>
                </a:solidFill>
                <a:effectLst/>
                <a:uLnTx/>
                <a:uFillTx/>
                <a:latin typeface="Quicksand"/>
                <a:ea typeface="+mn-ea"/>
                <a:cs typeface="+mn-cs"/>
              </a:rPr>
            </a:br>
            <a:endParaRPr kumimoji="0" lang="da-DK" sz="1400" b="0" i="0" u="none" strike="noStrike" kern="0" cap="none" spc="0" normalizeH="0" baseline="0" noProof="0" dirty="0">
              <a:ln>
                <a:noFill/>
              </a:ln>
              <a:solidFill>
                <a:schemeClr val="bg1"/>
              </a:solidFill>
              <a:effectLst/>
              <a:uLnTx/>
              <a:uFillTx/>
              <a:latin typeface="Quicksand"/>
              <a:ea typeface="+mn-ea"/>
              <a:cs typeface="+mn-cs"/>
            </a:endParaRPr>
          </a:p>
          <a:p>
            <a:pPr defTabSz="1219170">
              <a:lnSpc>
                <a:spcPct val="100000"/>
              </a:lnSpc>
              <a:buClr>
                <a:srgbClr val="273F68"/>
              </a:buClr>
            </a:pPr>
            <a:r>
              <a:rPr kumimoji="0" lang="da-DK" sz="1400" b="0" i="0" u="none" strike="noStrike" kern="0" cap="none" spc="0" normalizeH="0" baseline="0" noProof="0" dirty="0">
                <a:ln>
                  <a:noFill/>
                </a:ln>
                <a:solidFill>
                  <a:schemeClr val="bg1"/>
                </a:solidFill>
                <a:effectLst/>
                <a:uLnTx/>
                <a:uFillTx/>
                <a:latin typeface="Quicksand"/>
                <a:ea typeface="+mn-ea"/>
                <a:cs typeface="+mn-cs"/>
              </a:rPr>
              <a:t>Vi håber, at disse greb kan hjælpe jer til at skabe en værdifuld proces med </a:t>
            </a:r>
            <a:r>
              <a:rPr lang="da-DK" sz="1400" b="0" kern="0" dirty="0">
                <a:solidFill>
                  <a:schemeClr val="bg1"/>
                </a:solidFill>
                <a:latin typeface="Quicksand"/>
                <a:ea typeface="+mn-ea"/>
                <a:cs typeface="+mn-cs"/>
              </a:rPr>
              <a:t>lederne på de lokale skole</a:t>
            </a:r>
            <a:r>
              <a:rPr kumimoji="0" lang="da-DK" sz="1400" b="0" i="0" u="none" strike="noStrike" kern="0" cap="none" spc="0" normalizeH="0" baseline="0" noProof="0" dirty="0">
                <a:ln>
                  <a:noFill/>
                </a:ln>
                <a:solidFill>
                  <a:schemeClr val="bg1"/>
                </a:solidFill>
                <a:effectLst/>
                <a:uLnTx/>
                <a:uFillTx/>
                <a:latin typeface="Quicksand"/>
                <a:ea typeface="+mn-ea"/>
                <a:cs typeface="+mn-cs"/>
              </a:rPr>
              <a:t>r!</a:t>
            </a:r>
            <a:endParaRPr lang="da-DK" sz="1400" b="0" kern="0" dirty="0">
              <a:solidFill>
                <a:schemeClr val="bg1"/>
              </a:solidFill>
              <a:latin typeface="Quicksand"/>
            </a:endParaRPr>
          </a:p>
        </p:txBody>
      </p:sp>
      <p:sp>
        <p:nvSpPr>
          <p:cNvPr id="10" name="TextBox 9">
            <a:extLst>
              <a:ext uri="{FF2B5EF4-FFF2-40B4-BE49-F238E27FC236}">
                <a16:creationId xmlns:a16="http://schemas.microsoft.com/office/drawing/2014/main" id="{247940A4-FCEE-FE60-D937-4ABB370FCA8F}"/>
              </a:ext>
            </a:extLst>
          </p:cNvPr>
          <p:cNvSpPr txBox="1"/>
          <p:nvPr/>
        </p:nvSpPr>
        <p:spPr>
          <a:xfrm>
            <a:off x="2936332" y="5476391"/>
            <a:ext cx="6394784" cy="553998"/>
          </a:xfrm>
          <a:prstGeom prst="rect">
            <a:avLst/>
          </a:prstGeom>
          <a:noFill/>
        </p:spPr>
        <p:txBody>
          <a:bodyPr wrap="square">
            <a:spAutoFit/>
          </a:bodyPr>
          <a:lstStyle/>
          <a:p>
            <a:pPr algn="ctr" defTabSz="1219170">
              <a:lnSpc>
                <a:spcPct val="100000"/>
              </a:lnSpc>
              <a:buClr>
                <a:srgbClr val="273F68"/>
              </a:buClr>
              <a:buSzPct val="100000"/>
            </a:pPr>
            <a:r>
              <a:rPr lang="da-DK" sz="1500" b="1" kern="0">
                <a:solidFill>
                  <a:schemeClr val="bg2"/>
                </a:solidFill>
                <a:latin typeface="Quicksand"/>
              </a:rPr>
              <a:t>God fornøjelse!</a:t>
            </a:r>
          </a:p>
          <a:p>
            <a:pPr algn="ctr" defTabSz="1219170">
              <a:lnSpc>
                <a:spcPct val="100000"/>
              </a:lnSpc>
              <a:buClr>
                <a:srgbClr val="273F68"/>
              </a:buClr>
              <a:buSzPct val="100000"/>
            </a:pPr>
            <a:r>
              <a:rPr lang="da-DK" sz="1500" b="0" kern="0">
                <a:solidFill>
                  <a:schemeClr val="bg1"/>
                </a:solidFill>
                <a:latin typeface="Quicksand"/>
              </a:rPr>
              <a:t>Hilsen Rambøll</a:t>
            </a:r>
          </a:p>
        </p:txBody>
      </p:sp>
      <p:sp>
        <p:nvSpPr>
          <p:cNvPr id="7" name="Google Shape;994;p40">
            <a:extLst>
              <a:ext uri="{FF2B5EF4-FFF2-40B4-BE49-F238E27FC236}">
                <a16:creationId xmlns:a16="http://schemas.microsoft.com/office/drawing/2014/main" id="{96832833-B16A-C36B-6F8F-7D6D60BAF385}"/>
              </a:ext>
            </a:extLst>
          </p:cNvPr>
          <p:cNvSpPr txBox="1">
            <a:spLocks/>
          </p:cNvSpPr>
          <p:nvPr/>
        </p:nvSpPr>
        <p:spPr>
          <a:xfrm>
            <a:off x="0" y="1235496"/>
            <a:ext cx="12192000" cy="71435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marL="0" marR="0" lvl="0" indent="0" algn="ctr" defTabSz="914400" eaLnBrk="1" fontAlgn="auto" latinLnBrk="0" hangingPunct="1">
              <a:lnSpc>
                <a:spcPct val="90000"/>
              </a:lnSpc>
              <a:spcBef>
                <a:spcPts val="0"/>
              </a:spcBef>
              <a:spcAft>
                <a:spcPts val="0"/>
              </a:spcAft>
              <a:buClr>
                <a:srgbClr val="273F68"/>
              </a:buClr>
              <a:buSzPts val="3000"/>
              <a:buFont typeface="Amatic SC"/>
              <a:buNone/>
              <a:tabLst/>
              <a:defRPr/>
            </a:pPr>
            <a:r>
              <a:rPr lang="da-DK" sz="4000" kern="0" dirty="0">
                <a:solidFill>
                  <a:schemeClr val="bg2"/>
                </a:solidFill>
              </a:rPr>
              <a:t>Hej forvaltning!</a:t>
            </a:r>
            <a:endParaRPr kumimoji="0" lang="da-DK" sz="4000" b="1" i="0" u="none" strike="noStrike" kern="0" cap="none" spc="0" normalizeH="0" baseline="0" noProof="0" dirty="0">
              <a:ln>
                <a:noFill/>
              </a:ln>
              <a:solidFill>
                <a:schemeClr val="bg2"/>
              </a:solidFill>
              <a:effectLst/>
              <a:uLnTx/>
              <a:uFillTx/>
              <a:latin typeface="Amatic SC"/>
              <a:cs typeface="Amatic SC"/>
              <a:sym typeface="Amatic SC"/>
            </a:endParaRPr>
          </a:p>
        </p:txBody>
      </p:sp>
    </p:spTree>
    <p:extLst>
      <p:ext uri="{BB962C8B-B14F-4D97-AF65-F5344CB8AC3E}">
        <p14:creationId xmlns:p14="http://schemas.microsoft.com/office/powerpoint/2010/main" val="2970210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Shape 397">
            <a:extLst>
              <a:ext uri="{FF2B5EF4-FFF2-40B4-BE49-F238E27FC236}">
                <a16:creationId xmlns:a16="http://schemas.microsoft.com/office/drawing/2014/main" id="{30B119FE-39A4-AF51-5505-F8FBE6EB1CAE}"/>
              </a:ext>
            </a:extLst>
          </p:cNvPr>
          <p:cNvSpPr>
            <a:spLocks noChangeAspect="1"/>
          </p:cNvSpPr>
          <p:nvPr/>
        </p:nvSpPr>
        <p:spPr>
          <a:xfrm>
            <a:off x="6877616" y="380246"/>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5"/>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5" name="Shape 397">
            <a:extLst>
              <a:ext uri="{FF2B5EF4-FFF2-40B4-BE49-F238E27FC236}">
                <a16:creationId xmlns:a16="http://schemas.microsoft.com/office/drawing/2014/main" id="{737F0402-A836-5B93-FA1D-4D50E652A4E5}"/>
              </a:ext>
            </a:extLst>
          </p:cNvPr>
          <p:cNvSpPr>
            <a:spLocks noChangeAspect="1"/>
          </p:cNvSpPr>
          <p:nvPr/>
        </p:nvSpPr>
        <p:spPr>
          <a:xfrm>
            <a:off x="335774" y="3429000"/>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3"/>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6" name="Shape 397">
            <a:extLst>
              <a:ext uri="{FF2B5EF4-FFF2-40B4-BE49-F238E27FC236}">
                <a16:creationId xmlns:a16="http://schemas.microsoft.com/office/drawing/2014/main" id="{81FD2ADC-CB5B-083F-D7F1-08D2AB7FD1A5}"/>
              </a:ext>
            </a:extLst>
          </p:cNvPr>
          <p:cNvSpPr>
            <a:spLocks noChangeAspect="1"/>
          </p:cNvSpPr>
          <p:nvPr/>
        </p:nvSpPr>
        <p:spPr>
          <a:xfrm>
            <a:off x="6877616" y="3429000"/>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4"/>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3" name="Shape 397">
            <a:extLst>
              <a:ext uri="{FF2B5EF4-FFF2-40B4-BE49-F238E27FC236}">
                <a16:creationId xmlns:a16="http://schemas.microsoft.com/office/drawing/2014/main" id="{1C1390F2-77C4-A014-9EE3-80CFF837C093}"/>
              </a:ext>
            </a:extLst>
          </p:cNvPr>
          <p:cNvSpPr>
            <a:spLocks noChangeAspect="1"/>
          </p:cNvSpPr>
          <p:nvPr/>
        </p:nvSpPr>
        <p:spPr>
          <a:xfrm>
            <a:off x="335774" y="380246"/>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2"/>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9" name="TextBox 38">
            <a:extLst>
              <a:ext uri="{FF2B5EF4-FFF2-40B4-BE49-F238E27FC236}">
                <a16:creationId xmlns:a16="http://schemas.microsoft.com/office/drawing/2014/main" id="{1322A687-9B08-9575-DBA6-301D64EDD270}"/>
              </a:ext>
            </a:extLst>
          </p:cNvPr>
          <p:cNvSpPr txBox="1"/>
          <p:nvPr/>
        </p:nvSpPr>
        <p:spPr>
          <a:xfrm>
            <a:off x="4499572" y="1705734"/>
            <a:ext cx="3449371" cy="3065442"/>
          </a:xfrm>
          <a:prstGeom prst="rect">
            <a:avLst/>
          </a:prstGeom>
          <a:solidFill>
            <a:srgbClr val="E6E6E6"/>
          </a:solidFill>
        </p:spPr>
        <p:txBody>
          <a:bodyPr wrap="square" lIns="0" tIns="0" rIns="0" bIns="0" rtlCol="0">
            <a:spAutoFit/>
          </a:bodyPr>
          <a:lstStyle/>
          <a:p>
            <a:endParaRPr lang="da-DK" sz="2000" err="1"/>
          </a:p>
        </p:txBody>
      </p:sp>
      <p:sp>
        <p:nvSpPr>
          <p:cNvPr id="38" name="Shape 396">
            <a:extLst>
              <a:ext uri="{FF2B5EF4-FFF2-40B4-BE49-F238E27FC236}">
                <a16:creationId xmlns:a16="http://schemas.microsoft.com/office/drawing/2014/main" id="{123D5526-0ACA-7636-CC6E-9BFEC9A99261}"/>
              </a:ext>
            </a:extLst>
          </p:cNvPr>
          <p:cNvSpPr>
            <a:spLocks noChangeAspect="1"/>
          </p:cNvSpPr>
          <p:nvPr/>
        </p:nvSpPr>
        <p:spPr>
          <a:xfrm>
            <a:off x="4573834" y="1904623"/>
            <a:ext cx="3044332" cy="2650977"/>
          </a:xfrm>
          <a:custGeom>
            <a:avLst/>
            <a:gdLst/>
            <a:ahLst/>
            <a:cxnLst/>
            <a:rect l="0" t="0" r="0" b="0"/>
            <a:pathLst>
              <a:path w="73112" h="68207" extrusionOk="0">
                <a:moveTo>
                  <a:pt x="46809" y="1210"/>
                </a:moveTo>
                <a:lnTo>
                  <a:pt x="46886" y="1227"/>
                </a:lnTo>
                <a:lnTo>
                  <a:pt x="46886" y="1227"/>
                </a:lnTo>
                <a:lnTo>
                  <a:pt x="46866" y="1215"/>
                </a:lnTo>
                <a:lnTo>
                  <a:pt x="46809" y="1210"/>
                </a:lnTo>
                <a:close/>
                <a:moveTo>
                  <a:pt x="35754" y="1982"/>
                </a:moveTo>
                <a:lnTo>
                  <a:pt x="36320" y="2170"/>
                </a:lnTo>
                <a:lnTo>
                  <a:pt x="36037" y="2170"/>
                </a:lnTo>
                <a:lnTo>
                  <a:pt x="35660" y="2076"/>
                </a:lnTo>
                <a:lnTo>
                  <a:pt x="35754" y="1982"/>
                </a:lnTo>
                <a:close/>
                <a:moveTo>
                  <a:pt x="42641" y="1321"/>
                </a:moveTo>
                <a:lnTo>
                  <a:pt x="44622" y="1510"/>
                </a:lnTo>
                <a:lnTo>
                  <a:pt x="46603" y="1793"/>
                </a:lnTo>
                <a:lnTo>
                  <a:pt x="46226" y="1793"/>
                </a:lnTo>
                <a:lnTo>
                  <a:pt x="46320" y="1982"/>
                </a:lnTo>
                <a:lnTo>
                  <a:pt x="45660" y="1793"/>
                </a:lnTo>
                <a:lnTo>
                  <a:pt x="44905" y="1699"/>
                </a:lnTo>
                <a:lnTo>
                  <a:pt x="44905" y="1699"/>
                </a:lnTo>
                <a:lnTo>
                  <a:pt x="45188" y="2076"/>
                </a:lnTo>
                <a:lnTo>
                  <a:pt x="45282" y="2265"/>
                </a:lnTo>
                <a:lnTo>
                  <a:pt x="45094" y="2265"/>
                </a:lnTo>
                <a:lnTo>
                  <a:pt x="44716" y="2170"/>
                </a:lnTo>
                <a:lnTo>
                  <a:pt x="43773" y="1793"/>
                </a:lnTo>
                <a:lnTo>
                  <a:pt x="42641" y="1321"/>
                </a:lnTo>
                <a:close/>
                <a:moveTo>
                  <a:pt x="34622" y="5095"/>
                </a:moveTo>
                <a:lnTo>
                  <a:pt x="34169" y="5151"/>
                </a:lnTo>
                <a:lnTo>
                  <a:pt x="34169" y="5151"/>
                </a:lnTo>
                <a:lnTo>
                  <a:pt x="34056" y="5189"/>
                </a:lnTo>
                <a:lnTo>
                  <a:pt x="34622" y="5095"/>
                </a:lnTo>
                <a:close/>
                <a:moveTo>
                  <a:pt x="58490" y="6793"/>
                </a:moveTo>
                <a:lnTo>
                  <a:pt x="59056" y="7453"/>
                </a:lnTo>
                <a:lnTo>
                  <a:pt x="59087" y="7476"/>
                </a:lnTo>
                <a:lnTo>
                  <a:pt x="58490" y="6793"/>
                </a:lnTo>
                <a:close/>
                <a:moveTo>
                  <a:pt x="56697" y="7736"/>
                </a:moveTo>
                <a:lnTo>
                  <a:pt x="57358" y="8113"/>
                </a:lnTo>
                <a:lnTo>
                  <a:pt x="57075" y="8113"/>
                </a:lnTo>
                <a:lnTo>
                  <a:pt x="56697" y="7736"/>
                </a:lnTo>
                <a:close/>
                <a:moveTo>
                  <a:pt x="59810" y="8679"/>
                </a:moveTo>
                <a:lnTo>
                  <a:pt x="60087" y="8956"/>
                </a:lnTo>
                <a:lnTo>
                  <a:pt x="59905" y="8774"/>
                </a:lnTo>
                <a:lnTo>
                  <a:pt x="59810" y="8679"/>
                </a:lnTo>
                <a:close/>
                <a:moveTo>
                  <a:pt x="57546" y="8019"/>
                </a:moveTo>
                <a:lnTo>
                  <a:pt x="58395" y="8774"/>
                </a:lnTo>
                <a:lnTo>
                  <a:pt x="59339" y="9434"/>
                </a:lnTo>
                <a:lnTo>
                  <a:pt x="58490" y="8868"/>
                </a:lnTo>
                <a:lnTo>
                  <a:pt x="57735" y="8208"/>
                </a:lnTo>
                <a:lnTo>
                  <a:pt x="57546" y="8019"/>
                </a:lnTo>
                <a:close/>
                <a:moveTo>
                  <a:pt x="60282" y="9246"/>
                </a:moveTo>
                <a:lnTo>
                  <a:pt x="60565" y="9812"/>
                </a:lnTo>
                <a:lnTo>
                  <a:pt x="60282" y="9529"/>
                </a:lnTo>
                <a:lnTo>
                  <a:pt x="60282" y="9340"/>
                </a:lnTo>
                <a:lnTo>
                  <a:pt x="60282" y="9246"/>
                </a:lnTo>
                <a:close/>
                <a:moveTo>
                  <a:pt x="59999" y="8396"/>
                </a:moveTo>
                <a:lnTo>
                  <a:pt x="60659" y="8774"/>
                </a:lnTo>
                <a:lnTo>
                  <a:pt x="61131" y="9340"/>
                </a:lnTo>
                <a:lnTo>
                  <a:pt x="61603" y="9906"/>
                </a:lnTo>
                <a:lnTo>
                  <a:pt x="61886" y="10566"/>
                </a:lnTo>
                <a:lnTo>
                  <a:pt x="60942" y="9434"/>
                </a:lnTo>
                <a:lnTo>
                  <a:pt x="61320" y="10095"/>
                </a:lnTo>
                <a:lnTo>
                  <a:pt x="59999" y="8396"/>
                </a:lnTo>
                <a:close/>
                <a:moveTo>
                  <a:pt x="63773" y="11132"/>
                </a:moveTo>
                <a:lnTo>
                  <a:pt x="64537" y="12278"/>
                </a:lnTo>
                <a:lnTo>
                  <a:pt x="64622" y="12359"/>
                </a:lnTo>
                <a:lnTo>
                  <a:pt x="63773" y="11132"/>
                </a:lnTo>
                <a:close/>
                <a:moveTo>
                  <a:pt x="65093" y="14528"/>
                </a:moveTo>
                <a:lnTo>
                  <a:pt x="65376" y="15189"/>
                </a:lnTo>
                <a:lnTo>
                  <a:pt x="65659" y="15755"/>
                </a:lnTo>
                <a:lnTo>
                  <a:pt x="66037" y="16981"/>
                </a:lnTo>
                <a:lnTo>
                  <a:pt x="65659" y="16321"/>
                </a:lnTo>
                <a:lnTo>
                  <a:pt x="65282" y="15377"/>
                </a:lnTo>
                <a:lnTo>
                  <a:pt x="65093" y="14528"/>
                </a:lnTo>
                <a:close/>
                <a:moveTo>
                  <a:pt x="65093" y="16321"/>
                </a:moveTo>
                <a:lnTo>
                  <a:pt x="65565" y="16698"/>
                </a:lnTo>
                <a:lnTo>
                  <a:pt x="65942" y="17076"/>
                </a:lnTo>
                <a:lnTo>
                  <a:pt x="66320" y="17547"/>
                </a:lnTo>
                <a:lnTo>
                  <a:pt x="66414" y="17830"/>
                </a:lnTo>
                <a:lnTo>
                  <a:pt x="66508" y="18113"/>
                </a:lnTo>
                <a:lnTo>
                  <a:pt x="65848" y="17170"/>
                </a:lnTo>
                <a:lnTo>
                  <a:pt x="65093" y="16321"/>
                </a:lnTo>
                <a:close/>
                <a:moveTo>
                  <a:pt x="72074" y="36226"/>
                </a:moveTo>
                <a:lnTo>
                  <a:pt x="71791" y="37547"/>
                </a:lnTo>
                <a:lnTo>
                  <a:pt x="71603" y="38773"/>
                </a:lnTo>
                <a:lnTo>
                  <a:pt x="71320" y="40000"/>
                </a:lnTo>
                <a:lnTo>
                  <a:pt x="70754" y="41509"/>
                </a:lnTo>
                <a:lnTo>
                  <a:pt x="70942" y="40283"/>
                </a:lnTo>
                <a:lnTo>
                  <a:pt x="71225" y="38962"/>
                </a:lnTo>
                <a:lnTo>
                  <a:pt x="72074" y="36226"/>
                </a:lnTo>
                <a:close/>
                <a:moveTo>
                  <a:pt x="69150" y="44433"/>
                </a:moveTo>
                <a:lnTo>
                  <a:pt x="68867" y="44905"/>
                </a:lnTo>
                <a:lnTo>
                  <a:pt x="68584" y="45377"/>
                </a:lnTo>
                <a:lnTo>
                  <a:pt x="68206" y="45754"/>
                </a:lnTo>
                <a:lnTo>
                  <a:pt x="67923" y="46132"/>
                </a:lnTo>
                <a:lnTo>
                  <a:pt x="68112" y="45754"/>
                </a:lnTo>
                <a:lnTo>
                  <a:pt x="68678" y="45188"/>
                </a:lnTo>
                <a:lnTo>
                  <a:pt x="69150" y="44433"/>
                </a:lnTo>
                <a:close/>
                <a:moveTo>
                  <a:pt x="67357" y="47830"/>
                </a:moveTo>
                <a:lnTo>
                  <a:pt x="66886" y="48584"/>
                </a:lnTo>
                <a:lnTo>
                  <a:pt x="66508" y="48867"/>
                </a:lnTo>
                <a:lnTo>
                  <a:pt x="66414" y="48867"/>
                </a:lnTo>
                <a:lnTo>
                  <a:pt x="66414" y="48773"/>
                </a:lnTo>
                <a:lnTo>
                  <a:pt x="66886" y="48301"/>
                </a:lnTo>
                <a:lnTo>
                  <a:pt x="67357" y="47830"/>
                </a:lnTo>
                <a:close/>
                <a:moveTo>
                  <a:pt x="65093" y="48396"/>
                </a:moveTo>
                <a:lnTo>
                  <a:pt x="65376" y="48490"/>
                </a:lnTo>
                <a:lnTo>
                  <a:pt x="64905" y="49056"/>
                </a:lnTo>
                <a:lnTo>
                  <a:pt x="64622" y="49528"/>
                </a:lnTo>
                <a:lnTo>
                  <a:pt x="64244" y="49811"/>
                </a:lnTo>
                <a:lnTo>
                  <a:pt x="64244" y="49905"/>
                </a:lnTo>
                <a:lnTo>
                  <a:pt x="64056" y="49905"/>
                </a:lnTo>
                <a:lnTo>
                  <a:pt x="64056" y="49811"/>
                </a:lnTo>
                <a:lnTo>
                  <a:pt x="64433" y="49150"/>
                </a:lnTo>
                <a:lnTo>
                  <a:pt x="64622" y="48867"/>
                </a:lnTo>
                <a:lnTo>
                  <a:pt x="64905" y="48584"/>
                </a:lnTo>
                <a:lnTo>
                  <a:pt x="65093" y="48396"/>
                </a:lnTo>
                <a:close/>
                <a:moveTo>
                  <a:pt x="6981" y="52452"/>
                </a:moveTo>
                <a:lnTo>
                  <a:pt x="7170" y="53112"/>
                </a:lnTo>
                <a:lnTo>
                  <a:pt x="7075" y="53018"/>
                </a:lnTo>
                <a:lnTo>
                  <a:pt x="6981" y="52641"/>
                </a:lnTo>
                <a:lnTo>
                  <a:pt x="6981" y="52452"/>
                </a:lnTo>
                <a:close/>
                <a:moveTo>
                  <a:pt x="7736" y="54339"/>
                </a:moveTo>
                <a:lnTo>
                  <a:pt x="7641" y="54433"/>
                </a:lnTo>
                <a:lnTo>
                  <a:pt x="7641" y="54339"/>
                </a:lnTo>
                <a:close/>
                <a:moveTo>
                  <a:pt x="61225" y="55094"/>
                </a:moveTo>
                <a:lnTo>
                  <a:pt x="61037" y="55377"/>
                </a:lnTo>
                <a:lnTo>
                  <a:pt x="60754" y="55471"/>
                </a:lnTo>
                <a:lnTo>
                  <a:pt x="60754" y="55471"/>
                </a:lnTo>
                <a:lnTo>
                  <a:pt x="60942" y="55282"/>
                </a:lnTo>
                <a:lnTo>
                  <a:pt x="61225" y="55094"/>
                </a:lnTo>
                <a:close/>
                <a:moveTo>
                  <a:pt x="6132" y="53867"/>
                </a:moveTo>
                <a:lnTo>
                  <a:pt x="7358" y="55377"/>
                </a:lnTo>
                <a:lnTo>
                  <a:pt x="7641" y="55471"/>
                </a:lnTo>
                <a:lnTo>
                  <a:pt x="7641" y="55471"/>
                </a:lnTo>
                <a:lnTo>
                  <a:pt x="7641" y="55471"/>
                </a:lnTo>
                <a:lnTo>
                  <a:pt x="7830" y="55565"/>
                </a:lnTo>
                <a:lnTo>
                  <a:pt x="8302" y="56414"/>
                </a:lnTo>
                <a:lnTo>
                  <a:pt x="7170" y="55471"/>
                </a:lnTo>
                <a:lnTo>
                  <a:pt x="6509" y="54622"/>
                </a:lnTo>
                <a:lnTo>
                  <a:pt x="6226" y="54245"/>
                </a:lnTo>
                <a:lnTo>
                  <a:pt x="6132" y="53867"/>
                </a:lnTo>
                <a:close/>
                <a:moveTo>
                  <a:pt x="9056" y="56414"/>
                </a:moveTo>
                <a:lnTo>
                  <a:pt x="9245" y="56509"/>
                </a:lnTo>
                <a:lnTo>
                  <a:pt x="9151" y="56509"/>
                </a:lnTo>
                <a:lnTo>
                  <a:pt x="9056" y="56414"/>
                </a:lnTo>
                <a:close/>
                <a:moveTo>
                  <a:pt x="10472" y="56980"/>
                </a:moveTo>
                <a:lnTo>
                  <a:pt x="11321" y="57358"/>
                </a:lnTo>
                <a:lnTo>
                  <a:pt x="11887" y="57735"/>
                </a:lnTo>
                <a:lnTo>
                  <a:pt x="12264" y="58018"/>
                </a:lnTo>
                <a:lnTo>
                  <a:pt x="11604" y="57641"/>
                </a:lnTo>
                <a:lnTo>
                  <a:pt x="11604" y="57641"/>
                </a:lnTo>
                <a:lnTo>
                  <a:pt x="11792" y="58112"/>
                </a:lnTo>
                <a:lnTo>
                  <a:pt x="11604" y="58018"/>
                </a:lnTo>
                <a:lnTo>
                  <a:pt x="11132" y="57452"/>
                </a:lnTo>
                <a:lnTo>
                  <a:pt x="10849" y="57169"/>
                </a:lnTo>
                <a:lnTo>
                  <a:pt x="10472" y="56980"/>
                </a:lnTo>
                <a:close/>
                <a:moveTo>
                  <a:pt x="18019" y="59433"/>
                </a:moveTo>
                <a:lnTo>
                  <a:pt x="18773" y="59810"/>
                </a:lnTo>
                <a:lnTo>
                  <a:pt x="19528" y="60376"/>
                </a:lnTo>
                <a:lnTo>
                  <a:pt x="19056" y="60282"/>
                </a:lnTo>
                <a:lnTo>
                  <a:pt x="18962" y="60188"/>
                </a:lnTo>
                <a:lnTo>
                  <a:pt x="18490" y="59810"/>
                </a:lnTo>
                <a:lnTo>
                  <a:pt x="18019" y="59433"/>
                </a:lnTo>
                <a:close/>
                <a:moveTo>
                  <a:pt x="14528" y="59999"/>
                </a:moveTo>
                <a:lnTo>
                  <a:pt x="14717" y="60093"/>
                </a:lnTo>
                <a:lnTo>
                  <a:pt x="14905" y="60188"/>
                </a:lnTo>
                <a:lnTo>
                  <a:pt x="15188" y="60471"/>
                </a:lnTo>
                <a:lnTo>
                  <a:pt x="15283" y="60565"/>
                </a:lnTo>
                <a:lnTo>
                  <a:pt x="15188" y="60565"/>
                </a:lnTo>
                <a:lnTo>
                  <a:pt x="14528" y="59999"/>
                </a:lnTo>
                <a:close/>
                <a:moveTo>
                  <a:pt x="49339" y="60188"/>
                </a:moveTo>
                <a:lnTo>
                  <a:pt x="48395" y="60565"/>
                </a:lnTo>
                <a:lnTo>
                  <a:pt x="47924" y="60754"/>
                </a:lnTo>
                <a:lnTo>
                  <a:pt x="47452" y="60754"/>
                </a:lnTo>
                <a:lnTo>
                  <a:pt x="47924" y="60471"/>
                </a:lnTo>
                <a:lnTo>
                  <a:pt x="48301" y="60282"/>
                </a:lnTo>
                <a:lnTo>
                  <a:pt x="49056" y="60188"/>
                </a:lnTo>
                <a:close/>
                <a:moveTo>
                  <a:pt x="19245" y="60565"/>
                </a:moveTo>
                <a:lnTo>
                  <a:pt x="19811" y="60659"/>
                </a:lnTo>
                <a:lnTo>
                  <a:pt x="20566" y="61037"/>
                </a:lnTo>
                <a:lnTo>
                  <a:pt x="20566" y="61037"/>
                </a:lnTo>
                <a:lnTo>
                  <a:pt x="19811" y="60848"/>
                </a:lnTo>
                <a:lnTo>
                  <a:pt x="19245" y="60565"/>
                </a:lnTo>
                <a:close/>
                <a:moveTo>
                  <a:pt x="47075" y="61226"/>
                </a:moveTo>
                <a:lnTo>
                  <a:pt x="46792" y="61414"/>
                </a:lnTo>
                <a:lnTo>
                  <a:pt x="46697" y="61509"/>
                </a:lnTo>
                <a:lnTo>
                  <a:pt x="46792" y="61603"/>
                </a:lnTo>
                <a:lnTo>
                  <a:pt x="47263" y="61603"/>
                </a:lnTo>
                <a:lnTo>
                  <a:pt x="47641" y="61509"/>
                </a:lnTo>
                <a:lnTo>
                  <a:pt x="46886" y="61792"/>
                </a:lnTo>
                <a:lnTo>
                  <a:pt x="46131" y="61886"/>
                </a:lnTo>
                <a:lnTo>
                  <a:pt x="46131" y="61980"/>
                </a:lnTo>
                <a:lnTo>
                  <a:pt x="46037" y="61980"/>
                </a:lnTo>
                <a:lnTo>
                  <a:pt x="45660" y="61697"/>
                </a:lnTo>
                <a:lnTo>
                  <a:pt x="46320" y="61320"/>
                </a:lnTo>
                <a:lnTo>
                  <a:pt x="47075" y="61226"/>
                </a:lnTo>
                <a:close/>
                <a:moveTo>
                  <a:pt x="24151" y="63678"/>
                </a:moveTo>
                <a:lnTo>
                  <a:pt x="24905" y="63961"/>
                </a:lnTo>
                <a:lnTo>
                  <a:pt x="25754" y="64244"/>
                </a:lnTo>
                <a:lnTo>
                  <a:pt x="25188" y="64244"/>
                </a:lnTo>
                <a:lnTo>
                  <a:pt x="24151" y="64150"/>
                </a:lnTo>
                <a:lnTo>
                  <a:pt x="23773" y="64056"/>
                </a:lnTo>
                <a:lnTo>
                  <a:pt x="23585" y="63961"/>
                </a:lnTo>
                <a:lnTo>
                  <a:pt x="23585" y="63867"/>
                </a:lnTo>
                <a:lnTo>
                  <a:pt x="23585" y="63773"/>
                </a:lnTo>
                <a:lnTo>
                  <a:pt x="24151" y="63678"/>
                </a:lnTo>
                <a:close/>
                <a:moveTo>
                  <a:pt x="34811" y="64622"/>
                </a:moveTo>
                <a:lnTo>
                  <a:pt x="35094" y="64810"/>
                </a:lnTo>
                <a:lnTo>
                  <a:pt x="35377" y="64905"/>
                </a:lnTo>
                <a:lnTo>
                  <a:pt x="34622" y="64999"/>
                </a:lnTo>
                <a:lnTo>
                  <a:pt x="34056" y="64999"/>
                </a:lnTo>
                <a:lnTo>
                  <a:pt x="34056" y="64905"/>
                </a:lnTo>
                <a:lnTo>
                  <a:pt x="34811" y="64622"/>
                </a:lnTo>
                <a:close/>
                <a:moveTo>
                  <a:pt x="46414" y="63773"/>
                </a:moveTo>
                <a:lnTo>
                  <a:pt x="46131" y="64056"/>
                </a:lnTo>
                <a:lnTo>
                  <a:pt x="44433" y="64716"/>
                </a:lnTo>
                <a:lnTo>
                  <a:pt x="43962" y="64905"/>
                </a:lnTo>
                <a:lnTo>
                  <a:pt x="44150" y="64810"/>
                </a:lnTo>
                <a:lnTo>
                  <a:pt x="42641" y="64999"/>
                </a:lnTo>
                <a:lnTo>
                  <a:pt x="42924" y="64810"/>
                </a:lnTo>
                <a:lnTo>
                  <a:pt x="43207" y="64622"/>
                </a:lnTo>
                <a:lnTo>
                  <a:pt x="42358" y="64905"/>
                </a:lnTo>
                <a:lnTo>
                  <a:pt x="43113" y="64622"/>
                </a:lnTo>
                <a:lnTo>
                  <a:pt x="45377" y="63867"/>
                </a:lnTo>
                <a:lnTo>
                  <a:pt x="44999" y="64150"/>
                </a:lnTo>
                <a:lnTo>
                  <a:pt x="44622" y="64433"/>
                </a:lnTo>
                <a:lnTo>
                  <a:pt x="46414" y="63773"/>
                </a:lnTo>
                <a:close/>
                <a:moveTo>
                  <a:pt x="39905" y="64622"/>
                </a:moveTo>
                <a:lnTo>
                  <a:pt x="39811" y="64716"/>
                </a:lnTo>
                <a:lnTo>
                  <a:pt x="39622" y="64810"/>
                </a:lnTo>
                <a:lnTo>
                  <a:pt x="38962" y="64999"/>
                </a:lnTo>
                <a:lnTo>
                  <a:pt x="38207" y="65093"/>
                </a:lnTo>
                <a:lnTo>
                  <a:pt x="37641" y="65093"/>
                </a:lnTo>
                <a:lnTo>
                  <a:pt x="39056" y="64810"/>
                </a:lnTo>
                <a:lnTo>
                  <a:pt x="39528" y="64716"/>
                </a:lnTo>
                <a:lnTo>
                  <a:pt x="39905" y="64622"/>
                </a:lnTo>
                <a:close/>
                <a:moveTo>
                  <a:pt x="42829" y="64056"/>
                </a:moveTo>
                <a:lnTo>
                  <a:pt x="42452" y="64244"/>
                </a:lnTo>
                <a:lnTo>
                  <a:pt x="42263" y="64433"/>
                </a:lnTo>
                <a:lnTo>
                  <a:pt x="41980" y="64622"/>
                </a:lnTo>
                <a:lnTo>
                  <a:pt x="41886" y="64999"/>
                </a:lnTo>
                <a:lnTo>
                  <a:pt x="42263" y="64999"/>
                </a:lnTo>
                <a:lnTo>
                  <a:pt x="40094" y="65282"/>
                </a:lnTo>
                <a:lnTo>
                  <a:pt x="40848" y="64999"/>
                </a:lnTo>
                <a:lnTo>
                  <a:pt x="41131" y="64810"/>
                </a:lnTo>
                <a:lnTo>
                  <a:pt x="41131" y="64716"/>
                </a:lnTo>
                <a:lnTo>
                  <a:pt x="41037" y="64622"/>
                </a:lnTo>
                <a:lnTo>
                  <a:pt x="40754" y="64622"/>
                </a:lnTo>
                <a:lnTo>
                  <a:pt x="40282" y="64527"/>
                </a:lnTo>
                <a:lnTo>
                  <a:pt x="40188" y="64433"/>
                </a:lnTo>
                <a:lnTo>
                  <a:pt x="41509" y="64339"/>
                </a:lnTo>
                <a:lnTo>
                  <a:pt x="42829" y="64056"/>
                </a:lnTo>
                <a:close/>
                <a:moveTo>
                  <a:pt x="15660" y="60376"/>
                </a:moveTo>
                <a:lnTo>
                  <a:pt x="16887" y="61131"/>
                </a:lnTo>
                <a:lnTo>
                  <a:pt x="17924" y="62075"/>
                </a:lnTo>
                <a:lnTo>
                  <a:pt x="17924" y="61792"/>
                </a:lnTo>
                <a:lnTo>
                  <a:pt x="17830" y="61603"/>
                </a:lnTo>
                <a:lnTo>
                  <a:pt x="19056" y="61980"/>
                </a:lnTo>
                <a:lnTo>
                  <a:pt x="20283" y="62358"/>
                </a:lnTo>
                <a:lnTo>
                  <a:pt x="20849" y="62546"/>
                </a:lnTo>
                <a:lnTo>
                  <a:pt x="21415" y="62735"/>
                </a:lnTo>
                <a:lnTo>
                  <a:pt x="21886" y="63018"/>
                </a:lnTo>
                <a:lnTo>
                  <a:pt x="22358" y="63395"/>
                </a:lnTo>
                <a:lnTo>
                  <a:pt x="21509" y="63301"/>
                </a:lnTo>
                <a:lnTo>
                  <a:pt x="22547" y="63867"/>
                </a:lnTo>
                <a:lnTo>
                  <a:pt x="23868" y="64339"/>
                </a:lnTo>
                <a:lnTo>
                  <a:pt x="25471" y="64905"/>
                </a:lnTo>
                <a:lnTo>
                  <a:pt x="27169" y="65282"/>
                </a:lnTo>
                <a:lnTo>
                  <a:pt x="26603" y="65282"/>
                </a:lnTo>
                <a:lnTo>
                  <a:pt x="27075" y="65942"/>
                </a:lnTo>
                <a:lnTo>
                  <a:pt x="26886" y="65942"/>
                </a:lnTo>
                <a:lnTo>
                  <a:pt x="26603" y="65848"/>
                </a:lnTo>
                <a:lnTo>
                  <a:pt x="25849" y="65659"/>
                </a:lnTo>
                <a:lnTo>
                  <a:pt x="25283" y="65471"/>
                </a:lnTo>
                <a:lnTo>
                  <a:pt x="25188" y="65376"/>
                </a:lnTo>
                <a:lnTo>
                  <a:pt x="25754" y="65376"/>
                </a:lnTo>
                <a:lnTo>
                  <a:pt x="26226" y="65471"/>
                </a:lnTo>
                <a:lnTo>
                  <a:pt x="26320" y="65282"/>
                </a:lnTo>
                <a:lnTo>
                  <a:pt x="26320" y="65188"/>
                </a:lnTo>
                <a:lnTo>
                  <a:pt x="26226" y="65093"/>
                </a:lnTo>
                <a:lnTo>
                  <a:pt x="25660" y="65093"/>
                </a:lnTo>
                <a:lnTo>
                  <a:pt x="25188" y="65188"/>
                </a:lnTo>
                <a:lnTo>
                  <a:pt x="24528" y="65376"/>
                </a:lnTo>
                <a:lnTo>
                  <a:pt x="24528" y="65376"/>
                </a:lnTo>
                <a:lnTo>
                  <a:pt x="25000" y="65093"/>
                </a:lnTo>
                <a:lnTo>
                  <a:pt x="23679" y="64905"/>
                </a:lnTo>
                <a:lnTo>
                  <a:pt x="22547" y="64716"/>
                </a:lnTo>
                <a:lnTo>
                  <a:pt x="21603" y="64339"/>
                </a:lnTo>
                <a:lnTo>
                  <a:pt x="20660" y="63867"/>
                </a:lnTo>
                <a:lnTo>
                  <a:pt x="20943" y="63867"/>
                </a:lnTo>
                <a:lnTo>
                  <a:pt x="20377" y="63773"/>
                </a:lnTo>
                <a:lnTo>
                  <a:pt x="19339" y="63678"/>
                </a:lnTo>
                <a:lnTo>
                  <a:pt x="18868" y="63490"/>
                </a:lnTo>
                <a:lnTo>
                  <a:pt x="18396" y="63301"/>
                </a:lnTo>
                <a:lnTo>
                  <a:pt x="18585" y="63207"/>
                </a:lnTo>
                <a:lnTo>
                  <a:pt x="18868" y="63301"/>
                </a:lnTo>
                <a:lnTo>
                  <a:pt x="18019" y="62735"/>
                </a:lnTo>
                <a:lnTo>
                  <a:pt x="16981" y="62075"/>
                </a:lnTo>
                <a:lnTo>
                  <a:pt x="14811" y="60471"/>
                </a:lnTo>
                <a:lnTo>
                  <a:pt x="16415" y="61414"/>
                </a:lnTo>
                <a:lnTo>
                  <a:pt x="15660" y="60376"/>
                </a:lnTo>
                <a:close/>
                <a:moveTo>
                  <a:pt x="28867" y="65659"/>
                </a:moveTo>
                <a:lnTo>
                  <a:pt x="30660" y="65942"/>
                </a:lnTo>
                <a:lnTo>
                  <a:pt x="32547" y="66131"/>
                </a:lnTo>
                <a:lnTo>
                  <a:pt x="32075" y="66225"/>
                </a:lnTo>
                <a:lnTo>
                  <a:pt x="31320" y="66225"/>
                </a:lnTo>
                <a:lnTo>
                  <a:pt x="30566" y="66131"/>
                </a:lnTo>
                <a:lnTo>
                  <a:pt x="28867" y="65659"/>
                </a:lnTo>
                <a:close/>
                <a:moveTo>
                  <a:pt x="39150" y="0"/>
                </a:moveTo>
                <a:lnTo>
                  <a:pt x="39528" y="283"/>
                </a:lnTo>
                <a:lnTo>
                  <a:pt x="39622" y="378"/>
                </a:lnTo>
                <a:lnTo>
                  <a:pt x="41509" y="1038"/>
                </a:lnTo>
                <a:lnTo>
                  <a:pt x="40943" y="1132"/>
                </a:lnTo>
                <a:lnTo>
                  <a:pt x="40282" y="1227"/>
                </a:lnTo>
                <a:lnTo>
                  <a:pt x="38962" y="1038"/>
                </a:lnTo>
                <a:lnTo>
                  <a:pt x="37547" y="849"/>
                </a:lnTo>
                <a:lnTo>
                  <a:pt x="36320" y="661"/>
                </a:lnTo>
                <a:lnTo>
                  <a:pt x="36415" y="755"/>
                </a:lnTo>
                <a:lnTo>
                  <a:pt x="36415" y="849"/>
                </a:lnTo>
                <a:lnTo>
                  <a:pt x="35943" y="944"/>
                </a:lnTo>
                <a:lnTo>
                  <a:pt x="34150" y="1132"/>
                </a:lnTo>
                <a:lnTo>
                  <a:pt x="31698" y="1132"/>
                </a:lnTo>
                <a:lnTo>
                  <a:pt x="30660" y="1227"/>
                </a:lnTo>
                <a:lnTo>
                  <a:pt x="29716" y="1321"/>
                </a:lnTo>
                <a:lnTo>
                  <a:pt x="30377" y="1416"/>
                </a:lnTo>
                <a:lnTo>
                  <a:pt x="31037" y="1510"/>
                </a:lnTo>
                <a:lnTo>
                  <a:pt x="30094" y="1699"/>
                </a:lnTo>
                <a:lnTo>
                  <a:pt x="28773" y="2076"/>
                </a:lnTo>
                <a:lnTo>
                  <a:pt x="27924" y="2359"/>
                </a:lnTo>
                <a:lnTo>
                  <a:pt x="27924" y="2453"/>
                </a:lnTo>
                <a:lnTo>
                  <a:pt x="28207" y="2453"/>
                </a:lnTo>
                <a:lnTo>
                  <a:pt x="26509" y="3019"/>
                </a:lnTo>
                <a:lnTo>
                  <a:pt x="26792" y="2831"/>
                </a:lnTo>
                <a:lnTo>
                  <a:pt x="26792" y="2831"/>
                </a:lnTo>
                <a:lnTo>
                  <a:pt x="25660" y="2925"/>
                </a:lnTo>
                <a:lnTo>
                  <a:pt x="25754" y="2831"/>
                </a:lnTo>
                <a:lnTo>
                  <a:pt x="25377" y="2925"/>
                </a:lnTo>
                <a:lnTo>
                  <a:pt x="24905" y="3208"/>
                </a:lnTo>
                <a:lnTo>
                  <a:pt x="24056" y="3774"/>
                </a:lnTo>
                <a:lnTo>
                  <a:pt x="22264" y="4340"/>
                </a:lnTo>
                <a:lnTo>
                  <a:pt x="20471" y="5095"/>
                </a:lnTo>
                <a:lnTo>
                  <a:pt x="18679" y="5755"/>
                </a:lnTo>
                <a:lnTo>
                  <a:pt x="16981" y="6604"/>
                </a:lnTo>
                <a:lnTo>
                  <a:pt x="17453" y="6604"/>
                </a:lnTo>
                <a:lnTo>
                  <a:pt x="17830" y="6415"/>
                </a:lnTo>
                <a:lnTo>
                  <a:pt x="18868" y="6038"/>
                </a:lnTo>
                <a:lnTo>
                  <a:pt x="19905" y="5661"/>
                </a:lnTo>
                <a:lnTo>
                  <a:pt x="20377" y="5472"/>
                </a:lnTo>
                <a:lnTo>
                  <a:pt x="20943" y="5378"/>
                </a:lnTo>
                <a:lnTo>
                  <a:pt x="20943" y="5378"/>
                </a:lnTo>
                <a:lnTo>
                  <a:pt x="19528" y="6038"/>
                </a:lnTo>
                <a:lnTo>
                  <a:pt x="19528" y="6038"/>
                </a:lnTo>
                <a:lnTo>
                  <a:pt x="20094" y="5944"/>
                </a:lnTo>
                <a:lnTo>
                  <a:pt x="18396" y="7076"/>
                </a:lnTo>
                <a:lnTo>
                  <a:pt x="20849" y="6038"/>
                </a:lnTo>
                <a:lnTo>
                  <a:pt x="23396" y="5095"/>
                </a:lnTo>
                <a:lnTo>
                  <a:pt x="26037" y="4246"/>
                </a:lnTo>
                <a:lnTo>
                  <a:pt x="28679" y="3397"/>
                </a:lnTo>
                <a:lnTo>
                  <a:pt x="28301" y="3491"/>
                </a:lnTo>
                <a:lnTo>
                  <a:pt x="28773" y="3208"/>
                </a:lnTo>
                <a:lnTo>
                  <a:pt x="30283" y="2736"/>
                </a:lnTo>
                <a:lnTo>
                  <a:pt x="29905" y="2831"/>
                </a:lnTo>
                <a:lnTo>
                  <a:pt x="29056" y="2831"/>
                </a:lnTo>
                <a:lnTo>
                  <a:pt x="28584" y="2642"/>
                </a:lnTo>
                <a:lnTo>
                  <a:pt x="30566" y="2548"/>
                </a:lnTo>
                <a:lnTo>
                  <a:pt x="32641" y="2548"/>
                </a:lnTo>
                <a:lnTo>
                  <a:pt x="37264" y="2831"/>
                </a:lnTo>
                <a:lnTo>
                  <a:pt x="39528" y="3019"/>
                </a:lnTo>
                <a:lnTo>
                  <a:pt x="43490" y="3019"/>
                </a:lnTo>
                <a:lnTo>
                  <a:pt x="44339" y="2831"/>
                </a:lnTo>
                <a:lnTo>
                  <a:pt x="45094" y="2736"/>
                </a:lnTo>
                <a:lnTo>
                  <a:pt x="45943" y="3114"/>
                </a:lnTo>
                <a:lnTo>
                  <a:pt x="46886" y="3397"/>
                </a:lnTo>
                <a:lnTo>
                  <a:pt x="48678" y="3963"/>
                </a:lnTo>
                <a:lnTo>
                  <a:pt x="50565" y="4434"/>
                </a:lnTo>
                <a:lnTo>
                  <a:pt x="51509" y="4717"/>
                </a:lnTo>
                <a:lnTo>
                  <a:pt x="52358" y="5189"/>
                </a:lnTo>
                <a:lnTo>
                  <a:pt x="51792" y="4812"/>
                </a:lnTo>
                <a:lnTo>
                  <a:pt x="53584" y="5849"/>
                </a:lnTo>
                <a:lnTo>
                  <a:pt x="55376" y="6981"/>
                </a:lnTo>
                <a:lnTo>
                  <a:pt x="56320" y="7642"/>
                </a:lnTo>
                <a:lnTo>
                  <a:pt x="57169" y="8302"/>
                </a:lnTo>
                <a:lnTo>
                  <a:pt x="57924" y="9057"/>
                </a:lnTo>
                <a:lnTo>
                  <a:pt x="58678" y="9906"/>
                </a:lnTo>
                <a:lnTo>
                  <a:pt x="62357" y="14057"/>
                </a:lnTo>
                <a:lnTo>
                  <a:pt x="64622" y="16887"/>
                </a:lnTo>
                <a:lnTo>
                  <a:pt x="66697" y="19623"/>
                </a:lnTo>
                <a:lnTo>
                  <a:pt x="66603" y="19151"/>
                </a:lnTo>
                <a:lnTo>
                  <a:pt x="66603" y="18774"/>
                </a:lnTo>
                <a:lnTo>
                  <a:pt x="67357" y="20472"/>
                </a:lnTo>
                <a:lnTo>
                  <a:pt x="68772" y="23962"/>
                </a:lnTo>
                <a:lnTo>
                  <a:pt x="68867" y="24151"/>
                </a:lnTo>
                <a:lnTo>
                  <a:pt x="69810" y="26792"/>
                </a:lnTo>
                <a:lnTo>
                  <a:pt x="70565" y="29245"/>
                </a:lnTo>
                <a:lnTo>
                  <a:pt x="70754" y="30283"/>
                </a:lnTo>
                <a:lnTo>
                  <a:pt x="70848" y="31037"/>
                </a:lnTo>
                <a:lnTo>
                  <a:pt x="70848" y="31604"/>
                </a:lnTo>
                <a:lnTo>
                  <a:pt x="70754" y="31792"/>
                </a:lnTo>
                <a:lnTo>
                  <a:pt x="70565" y="31887"/>
                </a:lnTo>
                <a:lnTo>
                  <a:pt x="69433" y="36698"/>
                </a:lnTo>
                <a:lnTo>
                  <a:pt x="68206" y="41698"/>
                </a:lnTo>
                <a:lnTo>
                  <a:pt x="68584" y="41037"/>
                </a:lnTo>
                <a:lnTo>
                  <a:pt x="68961" y="40188"/>
                </a:lnTo>
                <a:lnTo>
                  <a:pt x="69244" y="40471"/>
                </a:lnTo>
                <a:lnTo>
                  <a:pt x="69244" y="40849"/>
                </a:lnTo>
                <a:lnTo>
                  <a:pt x="69244" y="41226"/>
                </a:lnTo>
                <a:lnTo>
                  <a:pt x="69055" y="41698"/>
                </a:lnTo>
                <a:lnTo>
                  <a:pt x="68489" y="42924"/>
                </a:lnTo>
                <a:lnTo>
                  <a:pt x="67735" y="44150"/>
                </a:lnTo>
                <a:lnTo>
                  <a:pt x="66791" y="45377"/>
                </a:lnTo>
                <a:lnTo>
                  <a:pt x="65942" y="46509"/>
                </a:lnTo>
                <a:lnTo>
                  <a:pt x="64716" y="47924"/>
                </a:lnTo>
                <a:lnTo>
                  <a:pt x="65565" y="47641"/>
                </a:lnTo>
                <a:lnTo>
                  <a:pt x="65093" y="48301"/>
                </a:lnTo>
                <a:lnTo>
                  <a:pt x="64433" y="48962"/>
                </a:lnTo>
                <a:lnTo>
                  <a:pt x="63112" y="50188"/>
                </a:lnTo>
                <a:lnTo>
                  <a:pt x="63678" y="48962"/>
                </a:lnTo>
                <a:lnTo>
                  <a:pt x="64244" y="47641"/>
                </a:lnTo>
                <a:lnTo>
                  <a:pt x="65754" y="44811"/>
                </a:lnTo>
                <a:lnTo>
                  <a:pt x="67169" y="42169"/>
                </a:lnTo>
                <a:lnTo>
                  <a:pt x="67735" y="41037"/>
                </a:lnTo>
                <a:lnTo>
                  <a:pt x="68206" y="40094"/>
                </a:lnTo>
                <a:lnTo>
                  <a:pt x="68206" y="39811"/>
                </a:lnTo>
                <a:lnTo>
                  <a:pt x="68301" y="39622"/>
                </a:lnTo>
                <a:lnTo>
                  <a:pt x="68301" y="39717"/>
                </a:lnTo>
                <a:lnTo>
                  <a:pt x="68395" y="39339"/>
                </a:lnTo>
                <a:lnTo>
                  <a:pt x="68772" y="37735"/>
                </a:lnTo>
                <a:lnTo>
                  <a:pt x="69055" y="36037"/>
                </a:lnTo>
                <a:lnTo>
                  <a:pt x="69150" y="32924"/>
                </a:lnTo>
                <a:lnTo>
                  <a:pt x="69150" y="30849"/>
                </a:lnTo>
                <a:lnTo>
                  <a:pt x="69150" y="28679"/>
                </a:lnTo>
                <a:lnTo>
                  <a:pt x="68961" y="28773"/>
                </a:lnTo>
                <a:lnTo>
                  <a:pt x="68961" y="29056"/>
                </a:lnTo>
                <a:lnTo>
                  <a:pt x="68678" y="28302"/>
                </a:lnTo>
                <a:lnTo>
                  <a:pt x="68395" y="27453"/>
                </a:lnTo>
                <a:lnTo>
                  <a:pt x="68018" y="25755"/>
                </a:lnTo>
                <a:lnTo>
                  <a:pt x="67923" y="25283"/>
                </a:lnTo>
                <a:lnTo>
                  <a:pt x="67923" y="25472"/>
                </a:lnTo>
                <a:lnTo>
                  <a:pt x="67546" y="24906"/>
                </a:lnTo>
                <a:lnTo>
                  <a:pt x="67074" y="24245"/>
                </a:lnTo>
                <a:lnTo>
                  <a:pt x="66980" y="24057"/>
                </a:lnTo>
                <a:lnTo>
                  <a:pt x="65471" y="22264"/>
                </a:lnTo>
                <a:lnTo>
                  <a:pt x="64810" y="21415"/>
                </a:lnTo>
                <a:lnTo>
                  <a:pt x="64339" y="20755"/>
                </a:lnTo>
                <a:lnTo>
                  <a:pt x="64622" y="20943"/>
                </a:lnTo>
                <a:lnTo>
                  <a:pt x="64527" y="20755"/>
                </a:lnTo>
                <a:lnTo>
                  <a:pt x="64339" y="20472"/>
                </a:lnTo>
                <a:lnTo>
                  <a:pt x="63301" y="19434"/>
                </a:lnTo>
                <a:lnTo>
                  <a:pt x="62357" y="18585"/>
                </a:lnTo>
                <a:lnTo>
                  <a:pt x="62452" y="18679"/>
                </a:lnTo>
                <a:lnTo>
                  <a:pt x="62357" y="18868"/>
                </a:lnTo>
                <a:lnTo>
                  <a:pt x="61508" y="18019"/>
                </a:lnTo>
                <a:lnTo>
                  <a:pt x="61791" y="18396"/>
                </a:lnTo>
                <a:lnTo>
                  <a:pt x="60848" y="17547"/>
                </a:lnTo>
                <a:lnTo>
                  <a:pt x="60471" y="17076"/>
                </a:lnTo>
                <a:lnTo>
                  <a:pt x="60471" y="16981"/>
                </a:lnTo>
                <a:lnTo>
                  <a:pt x="60565" y="17076"/>
                </a:lnTo>
                <a:lnTo>
                  <a:pt x="61225" y="17547"/>
                </a:lnTo>
                <a:lnTo>
                  <a:pt x="58961" y="15566"/>
                </a:lnTo>
                <a:lnTo>
                  <a:pt x="59527" y="16227"/>
                </a:lnTo>
                <a:lnTo>
                  <a:pt x="58584" y="15566"/>
                </a:lnTo>
                <a:lnTo>
                  <a:pt x="57641" y="14906"/>
                </a:lnTo>
                <a:lnTo>
                  <a:pt x="57546" y="15000"/>
                </a:lnTo>
                <a:lnTo>
                  <a:pt x="57452" y="15094"/>
                </a:lnTo>
                <a:lnTo>
                  <a:pt x="58301" y="15660"/>
                </a:lnTo>
                <a:lnTo>
                  <a:pt x="59056" y="16227"/>
                </a:lnTo>
                <a:lnTo>
                  <a:pt x="60471" y="17547"/>
                </a:lnTo>
                <a:lnTo>
                  <a:pt x="61886" y="18774"/>
                </a:lnTo>
                <a:lnTo>
                  <a:pt x="62640" y="19340"/>
                </a:lnTo>
                <a:lnTo>
                  <a:pt x="63395" y="19906"/>
                </a:lnTo>
                <a:lnTo>
                  <a:pt x="62829" y="19528"/>
                </a:lnTo>
                <a:lnTo>
                  <a:pt x="62074" y="19057"/>
                </a:lnTo>
                <a:lnTo>
                  <a:pt x="62074" y="19245"/>
                </a:lnTo>
                <a:lnTo>
                  <a:pt x="62357" y="19717"/>
                </a:lnTo>
                <a:lnTo>
                  <a:pt x="63584" y="21415"/>
                </a:lnTo>
                <a:lnTo>
                  <a:pt x="65093" y="23207"/>
                </a:lnTo>
                <a:lnTo>
                  <a:pt x="65754" y="23962"/>
                </a:lnTo>
                <a:lnTo>
                  <a:pt x="66225" y="24434"/>
                </a:lnTo>
                <a:lnTo>
                  <a:pt x="66414" y="24528"/>
                </a:lnTo>
                <a:lnTo>
                  <a:pt x="66320" y="24057"/>
                </a:lnTo>
                <a:lnTo>
                  <a:pt x="66697" y="24906"/>
                </a:lnTo>
                <a:lnTo>
                  <a:pt x="67074" y="26038"/>
                </a:lnTo>
                <a:lnTo>
                  <a:pt x="66414" y="24811"/>
                </a:lnTo>
                <a:lnTo>
                  <a:pt x="66791" y="25566"/>
                </a:lnTo>
                <a:lnTo>
                  <a:pt x="67169" y="26321"/>
                </a:lnTo>
                <a:lnTo>
                  <a:pt x="67263" y="26415"/>
                </a:lnTo>
                <a:lnTo>
                  <a:pt x="67923" y="28679"/>
                </a:lnTo>
                <a:lnTo>
                  <a:pt x="68206" y="29339"/>
                </a:lnTo>
                <a:lnTo>
                  <a:pt x="68678" y="30471"/>
                </a:lnTo>
                <a:lnTo>
                  <a:pt x="68772" y="30660"/>
                </a:lnTo>
                <a:lnTo>
                  <a:pt x="68678" y="30660"/>
                </a:lnTo>
                <a:lnTo>
                  <a:pt x="68395" y="30377"/>
                </a:lnTo>
                <a:lnTo>
                  <a:pt x="68206" y="30094"/>
                </a:lnTo>
                <a:lnTo>
                  <a:pt x="68206" y="30566"/>
                </a:lnTo>
                <a:lnTo>
                  <a:pt x="68301" y="31037"/>
                </a:lnTo>
                <a:lnTo>
                  <a:pt x="68395" y="31509"/>
                </a:lnTo>
                <a:lnTo>
                  <a:pt x="68395" y="31887"/>
                </a:lnTo>
                <a:lnTo>
                  <a:pt x="68301" y="31792"/>
                </a:lnTo>
                <a:lnTo>
                  <a:pt x="68301" y="31698"/>
                </a:lnTo>
                <a:lnTo>
                  <a:pt x="68301" y="31415"/>
                </a:lnTo>
                <a:lnTo>
                  <a:pt x="68018" y="30094"/>
                </a:lnTo>
                <a:lnTo>
                  <a:pt x="67735" y="28868"/>
                </a:lnTo>
                <a:lnTo>
                  <a:pt x="68112" y="31698"/>
                </a:lnTo>
                <a:lnTo>
                  <a:pt x="68206" y="33113"/>
                </a:lnTo>
                <a:lnTo>
                  <a:pt x="68206" y="34528"/>
                </a:lnTo>
                <a:lnTo>
                  <a:pt x="68112" y="35943"/>
                </a:lnTo>
                <a:lnTo>
                  <a:pt x="67923" y="37358"/>
                </a:lnTo>
                <a:lnTo>
                  <a:pt x="67546" y="38679"/>
                </a:lnTo>
                <a:lnTo>
                  <a:pt x="67074" y="40000"/>
                </a:lnTo>
                <a:lnTo>
                  <a:pt x="67263" y="39717"/>
                </a:lnTo>
                <a:lnTo>
                  <a:pt x="67357" y="39622"/>
                </a:lnTo>
                <a:lnTo>
                  <a:pt x="67357" y="39717"/>
                </a:lnTo>
                <a:lnTo>
                  <a:pt x="67263" y="40377"/>
                </a:lnTo>
                <a:lnTo>
                  <a:pt x="66980" y="41226"/>
                </a:lnTo>
                <a:lnTo>
                  <a:pt x="66791" y="41509"/>
                </a:lnTo>
                <a:lnTo>
                  <a:pt x="66697" y="41603"/>
                </a:lnTo>
                <a:lnTo>
                  <a:pt x="66414" y="42075"/>
                </a:lnTo>
                <a:lnTo>
                  <a:pt x="65754" y="43962"/>
                </a:lnTo>
                <a:lnTo>
                  <a:pt x="64905" y="46132"/>
                </a:lnTo>
                <a:lnTo>
                  <a:pt x="64150" y="47547"/>
                </a:lnTo>
                <a:lnTo>
                  <a:pt x="63395" y="48867"/>
                </a:lnTo>
                <a:lnTo>
                  <a:pt x="62546" y="50094"/>
                </a:lnTo>
                <a:lnTo>
                  <a:pt x="61697" y="51320"/>
                </a:lnTo>
                <a:lnTo>
                  <a:pt x="60376" y="52452"/>
                </a:lnTo>
                <a:lnTo>
                  <a:pt x="59810" y="53112"/>
                </a:lnTo>
                <a:lnTo>
                  <a:pt x="59244" y="53773"/>
                </a:lnTo>
                <a:lnTo>
                  <a:pt x="59999" y="53301"/>
                </a:lnTo>
                <a:lnTo>
                  <a:pt x="59905" y="53490"/>
                </a:lnTo>
                <a:lnTo>
                  <a:pt x="58018" y="54999"/>
                </a:lnTo>
                <a:lnTo>
                  <a:pt x="57075" y="55660"/>
                </a:lnTo>
                <a:lnTo>
                  <a:pt x="56037" y="56226"/>
                </a:lnTo>
                <a:lnTo>
                  <a:pt x="57924" y="54716"/>
                </a:lnTo>
                <a:lnTo>
                  <a:pt x="58867" y="53867"/>
                </a:lnTo>
                <a:lnTo>
                  <a:pt x="59716" y="53018"/>
                </a:lnTo>
                <a:lnTo>
                  <a:pt x="58961" y="53679"/>
                </a:lnTo>
                <a:lnTo>
                  <a:pt x="58207" y="54245"/>
                </a:lnTo>
                <a:lnTo>
                  <a:pt x="56603" y="55282"/>
                </a:lnTo>
                <a:lnTo>
                  <a:pt x="54905" y="56226"/>
                </a:lnTo>
                <a:lnTo>
                  <a:pt x="53301" y="57263"/>
                </a:lnTo>
                <a:lnTo>
                  <a:pt x="52735" y="57452"/>
                </a:lnTo>
                <a:lnTo>
                  <a:pt x="51509" y="57924"/>
                </a:lnTo>
                <a:lnTo>
                  <a:pt x="47829" y="59527"/>
                </a:lnTo>
                <a:lnTo>
                  <a:pt x="43962" y="61226"/>
                </a:lnTo>
                <a:lnTo>
                  <a:pt x="42358" y="61886"/>
                </a:lnTo>
                <a:lnTo>
                  <a:pt x="41414" y="62169"/>
                </a:lnTo>
                <a:lnTo>
                  <a:pt x="39433" y="62452"/>
                </a:lnTo>
                <a:lnTo>
                  <a:pt x="37169" y="62641"/>
                </a:lnTo>
                <a:lnTo>
                  <a:pt x="33679" y="62829"/>
                </a:lnTo>
                <a:lnTo>
                  <a:pt x="31226" y="62924"/>
                </a:lnTo>
                <a:lnTo>
                  <a:pt x="29528" y="62924"/>
                </a:lnTo>
                <a:lnTo>
                  <a:pt x="28301" y="62735"/>
                </a:lnTo>
                <a:lnTo>
                  <a:pt x="27075" y="62546"/>
                </a:lnTo>
                <a:lnTo>
                  <a:pt x="25754" y="62263"/>
                </a:lnTo>
                <a:lnTo>
                  <a:pt x="24622" y="61886"/>
                </a:lnTo>
                <a:lnTo>
                  <a:pt x="23396" y="61414"/>
                </a:lnTo>
                <a:lnTo>
                  <a:pt x="21320" y="60565"/>
                </a:lnTo>
                <a:lnTo>
                  <a:pt x="21509" y="60754"/>
                </a:lnTo>
                <a:lnTo>
                  <a:pt x="21698" y="60848"/>
                </a:lnTo>
                <a:lnTo>
                  <a:pt x="22169" y="61131"/>
                </a:lnTo>
                <a:lnTo>
                  <a:pt x="21037" y="60659"/>
                </a:lnTo>
                <a:lnTo>
                  <a:pt x="19434" y="59905"/>
                </a:lnTo>
                <a:lnTo>
                  <a:pt x="15754" y="57924"/>
                </a:lnTo>
                <a:lnTo>
                  <a:pt x="12453" y="56037"/>
                </a:lnTo>
                <a:lnTo>
                  <a:pt x="11415" y="55377"/>
                </a:lnTo>
                <a:lnTo>
                  <a:pt x="11226" y="55188"/>
                </a:lnTo>
                <a:lnTo>
                  <a:pt x="11132" y="55094"/>
                </a:lnTo>
                <a:lnTo>
                  <a:pt x="10377" y="54433"/>
                </a:lnTo>
                <a:lnTo>
                  <a:pt x="9717" y="53679"/>
                </a:lnTo>
                <a:lnTo>
                  <a:pt x="9717" y="53962"/>
                </a:lnTo>
                <a:lnTo>
                  <a:pt x="9622" y="54150"/>
                </a:lnTo>
                <a:lnTo>
                  <a:pt x="9528" y="54245"/>
                </a:lnTo>
                <a:lnTo>
                  <a:pt x="9434" y="54245"/>
                </a:lnTo>
                <a:lnTo>
                  <a:pt x="9151" y="54056"/>
                </a:lnTo>
                <a:lnTo>
                  <a:pt x="8868" y="53679"/>
                </a:lnTo>
                <a:lnTo>
                  <a:pt x="8585" y="53301"/>
                </a:lnTo>
                <a:lnTo>
                  <a:pt x="8302" y="52829"/>
                </a:lnTo>
                <a:lnTo>
                  <a:pt x="8302" y="52546"/>
                </a:lnTo>
                <a:lnTo>
                  <a:pt x="8302" y="52452"/>
                </a:lnTo>
                <a:lnTo>
                  <a:pt x="8396" y="52452"/>
                </a:lnTo>
                <a:lnTo>
                  <a:pt x="7924" y="52263"/>
                </a:lnTo>
                <a:lnTo>
                  <a:pt x="7358" y="51886"/>
                </a:lnTo>
                <a:lnTo>
                  <a:pt x="6038" y="50660"/>
                </a:lnTo>
                <a:lnTo>
                  <a:pt x="5849" y="50377"/>
                </a:lnTo>
                <a:lnTo>
                  <a:pt x="5566" y="50094"/>
                </a:lnTo>
                <a:lnTo>
                  <a:pt x="5566" y="50188"/>
                </a:lnTo>
                <a:lnTo>
                  <a:pt x="4811" y="49339"/>
                </a:lnTo>
                <a:lnTo>
                  <a:pt x="4717" y="49150"/>
                </a:lnTo>
                <a:lnTo>
                  <a:pt x="5189" y="49433"/>
                </a:lnTo>
                <a:lnTo>
                  <a:pt x="5377" y="49528"/>
                </a:lnTo>
                <a:lnTo>
                  <a:pt x="5472" y="49716"/>
                </a:lnTo>
                <a:lnTo>
                  <a:pt x="5660" y="50094"/>
                </a:lnTo>
                <a:lnTo>
                  <a:pt x="5377" y="49056"/>
                </a:lnTo>
                <a:lnTo>
                  <a:pt x="5000" y="48113"/>
                </a:lnTo>
                <a:lnTo>
                  <a:pt x="4057" y="45660"/>
                </a:lnTo>
                <a:lnTo>
                  <a:pt x="3585" y="44150"/>
                </a:lnTo>
                <a:lnTo>
                  <a:pt x="3208" y="42358"/>
                </a:lnTo>
                <a:lnTo>
                  <a:pt x="3396" y="42547"/>
                </a:lnTo>
                <a:lnTo>
                  <a:pt x="3491" y="42452"/>
                </a:lnTo>
                <a:lnTo>
                  <a:pt x="3585" y="42547"/>
                </a:lnTo>
                <a:lnTo>
                  <a:pt x="3774" y="42641"/>
                </a:lnTo>
                <a:lnTo>
                  <a:pt x="3679" y="40849"/>
                </a:lnTo>
                <a:lnTo>
                  <a:pt x="3585" y="38962"/>
                </a:lnTo>
                <a:lnTo>
                  <a:pt x="3679" y="37169"/>
                </a:lnTo>
                <a:lnTo>
                  <a:pt x="3774" y="36320"/>
                </a:lnTo>
                <a:lnTo>
                  <a:pt x="4057" y="35566"/>
                </a:lnTo>
                <a:lnTo>
                  <a:pt x="4434" y="33585"/>
                </a:lnTo>
                <a:lnTo>
                  <a:pt x="4434" y="33962"/>
                </a:lnTo>
                <a:lnTo>
                  <a:pt x="4528" y="34245"/>
                </a:lnTo>
                <a:lnTo>
                  <a:pt x="4717" y="32264"/>
                </a:lnTo>
                <a:lnTo>
                  <a:pt x="5189" y="30283"/>
                </a:lnTo>
                <a:lnTo>
                  <a:pt x="5755" y="28302"/>
                </a:lnTo>
                <a:lnTo>
                  <a:pt x="6604" y="26321"/>
                </a:lnTo>
                <a:lnTo>
                  <a:pt x="7453" y="24340"/>
                </a:lnTo>
                <a:lnTo>
                  <a:pt x="8585" y="22547"/>
                </a:lnTo>
                <a:lnTo>
                  <a:pt x="9717" y="20755"/>
                </a:lnTo>
                <a:lnTo>
                  <a:pt x="10943" y="19245"/>
                </a:lnTo>
                <a:lnTo>
                  <a:pt x="10849" y="19057"/>
                </a:lnTo>
                <a:lnTo>
                  <a:pt x="10849" y="18868"/>
                </a:lnTo>
                <a:lnTo>
                  <a:pt x="11132" y="18396"/>
                </a:lnTo>
                <a:lnTo>
                  <a:pt x="11604" y="17830"/>
                </a:lnTo>
                <a:lnTo>
                  <a:pt x="12264" y="17076"/>
                </a:lnTo>
                <a:lnTo>
                  <a:pt x="14151" y="15472"/>
                </a:lnTo>
                <a:lnTo>
                  <a:pt x="16415" y="13585"/>
                </a:lnTo>
                <a:lnTo>
                  <a:pt x="18868" y="11793"/>
                </a:lnTo>
                <a:lnTo>
                  <a:pt x="21226" y="10095"/>
                </a:lnTo>
                <a:lnTo>
                  <a:pt x="23302" y="8868"/>
                </a:lnTo>
                <a:lnTo>
                  <a:pt x="24717" y="8113"/>
                </a:lnTo>
                <a:lnTo>
                  <a:pt x="24245" y="8491"/>
                </a:lnTo>
                <a:lnTo>
                  <a:pt x="23773" y="8774"/>
                </a:lnTo>
                <a:lnTo>
                  <a:pt x="24811" y="8208"/>
                </a:lnTo>
                <a:lnTo>
                  <a:pt x="25566" y="7830"/>
                </a:lnTo>
                <a:lnTo>
                  <a:pt x="27452" y="6981"/>
                </a:lnTo>
                <a:lnTo>
                  <a:pt x="27264" y="6981"/>
                </a:lnTo>
                <a:lnTo>
                  <a:pt x="26981" y="6887"/>
                </a:lnTo>
                <a:lnTo>
                  <a:pt x="27830" y="6604"/>
                </a:lnTo>
                <a:lnTo>
                  <a:pt x="29056" y="6132"/>
                </a:lnTo>
                <a:lnTo>
                  <a:pt x="28679" y="6415"/>
                </a:lnTo>
                <a:lnTo>
                  <a:pt x="29056" y="6510"/>
                </a:lnTo>
                <a:lnTo>
                  <a:pt x="28962" y="6698"/>
                </a:lnTo>
                <a:lnTo>
                  <a:pt x="30283" y="6227"/>
                </a:lnTo>
                <a:lnTo>
                  <a:pt x="31698" y="5755"/>
                </a:lnTo>
                <a:lnTo>
                  <a:pt x="33113" y="5378"/>
                </a:lnTo>
                <a:lnTo>
                  <a:pt x="33867" y="5189"/>
                </a:lnTo>
                <a:lnTo>
                  <a:pt x="34169" y="5151"/>
                </a:lnTo>
                <a:lnTo>
                  <a:pt x="34169" y="5151"/>
                </a:lnTo>
                <a:lnTo>
                  <a:pt x="34905" y="4906"/>
                </a:lnTo>
                <a:lnTo>
                  <a:pt x="35754" y="4812"/>
                </a:lnTo>
                <a:lnTo>
                  <a:pt x="36603" y="4812"/>
                </a:lnTo>
                <a:lnTo>
                  <a:pt x="37547" y="4717"/>
                </a:lnTo>
                <a:lnTo>
                  <a:pt x="37830" y="4717"/>
                </a:lnTo>
                <a:lnTo>
                  <a:pt x="38396" y="4529"/>
                </a:lnTo>
                <a:lnTo>
                  <a:pt x="38867" y="4340"/>
                </a:lnTo>
                <a:lnTo>
                  <a:pt x="38867" y="4623"/>
                </a:lnTo>
                <a:lnTo>
                  <a:pt x="42735" y="4340"/>
                </a:lnTo>
                <a:lnTo>
                  <a:pt x="43207" y="4529"/>
                </a:lnTo>
                <a:lnTo>
                  <a:pt x="43018" y="4529"/>
                </a:lnTo>
                <a:lnTo>
                  <a:pt x="43867" y="4623"/>
                </a:lnTo>
                <a:lnTo>
                  <a:pt x="44811" y="4434"/>
                </a:lnTo>
                <a:lnTo>
                  <a:pt x="45094" y="4717"/>
                </a:lnTo>
                <a:lnTo>
                  <a:pt x="45754" y="4906"/>
                </a:lnTo>
                <a:lnTo>
                  <a:pt x="47546" y="5189"/>
                </a:lnTo>
                <a:lnTo>
                  <a:pt x="49622" y="5566"/>
                </a:lnTo>
                <a:lnTo>
                  <a:pt x="51131" y="5849"/>
                </a:lnTo>
                <a:lnTo>
                  <a:pt x="51131" y="5849"/>
                </a:lnTo>
                <a:lnTo>
                  <a:pt x="49244" y="5095"/>
                </a:lnTo>
                <a:lnTo>
                  <a:pt x="46886" y="4529"/>
                </a:lnTo>
                <a:lnTo>
                  <a:pt x="44433" y="3963"/>
                </a:lnTo>
                <a:lnTo>
                  <a:pt x="41980" y="3491"/>
                </a:lnTo>
                <a:lnTo>
                  <a:pt x="39528" y="3302"/>
                </a:lnTo>
                <a:lnTo>
                  <a:pt x="37358" y="3208"/>
                </a:lnTo>
                <a:lnTo>
                  <a:pt x="36415" y="3208"/>
                </a:lnTo>
                <a:lnTo>
                  <a:pt x="35565" y="3302"/>
                </a:lnTo>
                <a:lnTo>
                  <a:pt x="34811" y="3491"/>
                </a:lnTo>
                <a:lnTo>
                  <a:pt x="34150" y="3680"/>
                </a:lnTo>
                <a:lnTo>
                  <a:pt x="33490" y="3585"/>
                </a:lnTo>
                <a:lnTo>
                  <a:pt x="32830" y="3491"/>
                </a:lnTo>
                <a:lnTo>
                  <a:pt x="31509" y="3585"/>
                </a:lnTo>
                <a:lnTo>
                  <a:pt x="30000" y="3868"/>
                </a:lnTo>
                <a:lnTo>
                  <a:pt x="28490" y="4246"/>
                </a:lnTo>
                <a:lnTo>
                  <a:pt x="26981" y="4812"/>
                </a:lnTo>
                <a:lnTo>
                  <a:pt x="25471" y="5472"/>
                </a:lnTo>
                <a:lnTo>
                  <a:pt x="23868" y="6321"/>
                </a:lnTo>
                <a:lnTo>
                  <a:pt x="22358" y="7170"/>
                </a:lnTo>
                <a:lnTo>
                  <a:pt x="20849" y="8113"/>
                </a:lnTo>
                <a:lnTo>
                  <a:pt x="19339" y="9151"/>
                </a:lnTo>
                <a:lnTo>
                  <a:pt x="17924" y="10283"/>
                </a:lnTo>
                <a:lnTo>
                  <a:pt x="16604" y="11321"/>
                </a:lnTo>
                <a:lnTo>
                  <a:pt x="14056" y="13491"/>
                </a:lnTo>
                <a:lnTo>
                  <a:pt x="12075" y="15472"/>
                </a:lnTo>
                <a:lnTo>
                  <a:pt x="9717" y="18491"/>
                </a:lnTo>
                <a:lnTo>
                  <a:pt x="10000" y="17830"/>
                </a:lnTo>
                <a:lnTo>
                  <a:pt x="10377" y="17264"/>
                </a:lnTo>
                <a:lnTo>
                  <a:pt x="9717" y="18113"/>
                </a:lnTo>
                <a:lnTo>
                  <a:pt x="9056" y="19057"/>
                </a:lnTo>
                <a:lnTo>
                  <a:pt x="9151" y="19245"/>
                </a:lnTo>
                <a:lnTo>
                  <a:pt x="8396" y="20189"/>
                </a:lnTo>
                <a:lnTo>
                  <a:pt x="9151" y="18774"/>
                </a:lnTo>
                <a:lnTo>
                  <a:pt x="8019" y="20377"/>
                </a:lnTo>
                <a:lnTo>
                  <a:pt x="7075" y="22075"/>
                </a:lnTo>
                <a:lnTo>
                  <a:pt x="6226" y="23868"/>
                </a:lnTo>
                <a:lnTo>
                  <a:pt x="5472" y="25755"/>
                </a:lnTo>
                <a:lnTo>
                  <a:pt x="4151" y="29434"/>
                </a:lnTo>
                <a:lnTo>
                  <a:pt x="2924" y="32924"/>
                </a:lnTo>
                <a:lnTo>
                  <a:pt x="3019" y="33113"/>
                </a:lnTo>
                <a:lnTo>
                  <a:pt x="2924" y="33773"/>
                </a:lnTo>
                <a:lnTo>
                  <a:pt x="2453" y="36509"/>
                </a:lnTo>
                <a:lnTo>
                  <a:pt x="1981" y="39434"/>
                </a:lnTo>
                <a:lnTo>
                  <a:pt x="1981" y="39528"/>
                </a:lnTo>
                <a:lnTo>
                  <a:pt x="1981" y="39905"/>
                </a:lnTo>
                <a:lnTo>
                  <a:pt x="1792" y="41415"/>
                </a:lnTo>
                <a:lnTo>
                  <a:pt x="1698" y="42358"/>
                </a:lnTo>
                <a:lnTo>
                  <a:pt x="1698" y="43301"/>
                </a:lnTo>
                <a:lnTo>
                  <a:pt x="1792" y="44245"/>
                </a:lnTo>
                <a:lnTo>
                  <a:pt x="1887" y="44999"/>
                </a:lnTo>
                <a:lnTo>
                  <a:pt x="2170" y="46603"/>
                </a:lnTo>
                <a:lnTo>
                  <a:pt x="2170" y="46603"/>
                </a:lnTo>
                <a:lnTo>
                  <a:pt x="1887" y="46415"/>
                </a:lnTo>
                <a:lnTo>
                  <a:pt x="1792" y="46320"/>
                </a:lnTo>
                <a:lnTo>
                  <a:pt x="1792" y="46509"/>
                </a:lnTo>
                <a:lnTo>
                  <a:pt x="1981" y="46981"/>
                </a:lnTo>
                <a:lnTo>
                  <a:pt x="1415" y="46132"/>
                </a:lnTo>
                <a:lnTo>
                  <a:pt x="1509" y="46509"/>
                </a:lnTo>
                <a:lnTo>
                  <a:pt x="1321" y="46981"/>
                </a:lnTo>
                <a:lnTo>
                  <a:pt x="472" y="45471"/>
                </a:lnTo>
                <a:lnTo>
                  <a:pt x="377" y="45565"/>
                </a:lnTo>
                <a:lnTo>
                  <a:pt x="283" y="45660"/>
                </a:lnTo>
                <a:lnTo>
                  <a:pt x="189" y="45660"/>
                </a:lnTo>
                <a:lnTo>
                  <a:pt x="0" y="45565"/>
                </a:lnTo>
                <a:lnTo>
                  <a:pt x="0" y="45565"/>
                </a:lnTo>
                <a:lnTo>
                  <a:pt x="1038" y="47924"/>
                </a:lnTo>
                <a:lnTo>
                  <a:pt x="2264" y="50282"/>
                </a:lnTo>
                <a:lnTo>
                  <a:pt x="2075" y="49905"/>
                </a:lnTo>
                <a:lnTo>
                  <a:pt x="2170" y="49528"/>
                </a:lnTo>
                <a:lnTo>
                  <a:pt x="2736" y="50188"/>
                </a:lnTo>
                <a:lnTo>
                  <a:pt x="3208" y="50660"/>
                </a:lnTo>
                <a:lnTo>
                  <a:pt x="3396" y="50943"/>
                </a:lnTo>
                <a:lnTo>
                  <a:pt x="3396" y="51037"/>
                </a:lnTo>
                <a:lnTo>
                  <a:pt x="3302" y="50943"/>
                </a:lnTo>
                <a:lnTo>
                  <a:pt x="3302" y="50943"/>
                </a:lnTo>
                <a:lnTo>
                  <a:pt x="3585" y="51320"/>
                </a:lnTo>
                <a:lnTo>
                  <a:pt x="4623" y="53207"/>
                </a:lnTo>
                <a:lnTo>
                  <a:pt x="5755" y="55094"/>
                </a:lnTo>
                <a:lnTo>
                  <a:pt x="7075" y="56886"/>
                </a:lnTo>
                <a:lnTo>
                  <a:pt x="8585" y="58490"/>
                </a:lnTo>
                <a:lnTo>
                  <a:pt x="10189" y="59999"/>
                </a:lnTo>
                <a:lnTo>
                  <a:pt x="11792" y="61414"/>
                </a:lnTo>
                <a:lnTo>
                  <a:pt x="13585" y="62735"/>
                </a:lnTo>
                <a:lnTo>
                  <a:pt x="15471" y="63867"/>
                </a:lnTo>
                <a:lnTo>
                  <a:pt x="17641" y="64905"/>
                </a:lnTo>
                <a:lnTo>
                  <a:pt x="20000" y="65942"/>
                </a:lnTo>
                <a:lnTo>
                  <a:pt x="22358" y="66697"/>
                </a:lnTo>
                <a:lnTo>
                  <a:pt x="24811" y="67263"/>
                </a:lnTo>
                <a:lnTo>
                  <a:pt x="27264" y="67735"/>
                </a:lnTo>
                <a:lnTo>
                  <a:pt x="29811" y="68018"/>
                </a:lnTo>
                <a:lnTo>
                  <a:pt x="32264" y="68206"/>
                </a:lnTo>
                <a:lnTo>
                  <a:pt x="34811" y="68112"/>
                </a:lnTo>
                <a:lnTo>
                  <a:pt x="36981" y="67829"/>
                </a:lnTo>
                <a:lnTo>
                  <a:pt x="40471" y="67263"/>
                </a:lnTo>
                <a:lnTo>
                  <a:pt x="44056" y="66508"/>
                </a:lnTo>
                <a:lnTo>
                  <a:pt x="45565" y="66131"/>
                </a:lnTo>
                <a:lnTo>
                  <a:pt x="46509" y="65848"/>
                </a:lnTo>
                <a:lnTo>
                  <a:pt x="46509" y="65942"/>
                </a:lnTo>
                <a:lnTo>
                  <a:pt x="48018" y="65376"/>
                </a:lnTo>
                <a:lnTo>
                  <a:pt x="49527" y="64622"/>
                </a:lnTo>
                <a:lnTo>
                  <a:pt x="48867" y="64810"/>
                </a:lnTo>
                <a:lnTo>
                  <a:pt x="50754" y="63773"/>
                </a:lnTo>
                <a:lnTo>
                  <a:pt x="52546" y="62641"/>
                </a:lnTo>
                <a:lnTo>
                  <a:pt x="54244" y="61320"/>
                </a:lnTo>
                <a:lnTo>
                  <a:pt x="56037" y="59810"/>
                </a:lnTo>
                <a:lnTo>
                  <a:pt x="55282" y="60659"/>
                </a:lnTo>
                <a:lnTo>
                  <a:pt x="57263" y="59056"/>
                </a:lnTo>
                <a:lnTo>
                  <a:pt x="58112" y="58395"/>
                </a:lnTo>
                <a:lnTo>
                  <a:pt x="58207" y="58301"/>
                </a:lnTo>
                <a:lnTo>
                  <a:pt x="58112" y="58301"/>
                </a:lnTo>
                <a:lnTo>
                  <a:pt x="58584" y="57924"/>
                </a:lnTo>
                <a:lnTo>
                  <a:pt x="59056" y="57546"/>
                </a:lnTo>
                <a:lnTo>
                  <a:pt x="59999" y="56414"/>
                </a:lnTo>
                <a:lnTo>
                  <a:pt x="61414" y="55188"/>
                </a:lnTo>
                <a:lnTo>
                  <a:pt x="61414" y="55188"/>
                </a:lnTo>
                <a:lnTo>
                  <a:pt x="61131" y="55282"/>
                </a:lnTo>
                <a:lnTo>
                  <a:pt x="61508" y="54811"/>
                </a:lnTo>
                <a:lnTo>
                  <a:pt x="62735" y="53867"/>
                </a:lnTo>
                <a:lnTo>
                  <a:pt x="63867" y="52735"/>
                </a:lnTo>
                <a:lnTo>
                  <a:pt x="66131" y="50471"/>
                </a:lnTo>
                <a:lnTo>
                  <a:pt x="66131" y="50565"/>
                </a:lnTo>
                <a:lnTo>
                  <a:pt x="66320" y="50660"/>
                </a:lnTo>
                <a:lnTo>
                  <a:pt x="66414" y="50660"/>
                </a:lnTo>
                <a:lnTo>
                  <a:pt x="66603" y="50565"/>
                </a:lnTo>
                <a:lnTo>
                  <a:pt x="66603" y="50754"/>
                </a:lnTo>
                <a:lnTo>
                  <a:pt x="66508" y="50943"/>
                </a:lnTo>
                <a:lnTo>
                  <a:pt x="65848" y="51603"/>
                </a:lnTo>
                <a:lnTo>
                  <a:pt x="64999" y="52546"/>
                </a:lnTo>
                <a:lnTo>
                  <a:pt x="65376" y="52358"/>
                </a:lnTo>
                <a:lnTo>
                  <a:pt x="65848" y="52075"/>
                </a:lnTo>
                <a:lnTo>
                  <a:pt x="66697" y="51320"/>
                </a:lnTo>
                <a:lnTo>
                  <a:pt x="67546" y="50282"/>
                </a:lnTo>
                <a:lnTo>
                  <a:pt x="68301" y="49056"/>
                </a:lnTo>
                <a:lnTo>
                  <a:pt x="69055" y="47830"/>
                </a:lnTo>
                <a:lnTo>
                  <a:pt x="69716" y="46603"/>
                </a:lnTo>
                <a:lnTo>
                  <a:pt x="70565" y="44811"/>
                </a:lnTo>
                <a:lnTo>
                  <a:pt x="70282" y="45094"/>
                </a:lnTo>
                <a:lnTo>
                  <a:pt x="70942" y="43490"/>
                </a:lnTo>
                <a:lnTo>
                  <a:pt x="71037" y="43396"/>
                </a:lnTo>
                <a:lnTo>
                  <a:pt x="71697" y="41320"/>
                </a:lnTo>
                <a:lnTo>
                  <a:pt x="72263" y="39245"/>
                </a:lnTo>
                <a:lnTo>
                  <a:pt x="72640" y="37358"/>
                </a:lnTo>
                <a:lnTo>
                  <a:pt x="72923" y="35849"/>
                </a:lnTo>
                <a:lnTo>
                  <a:pt x="72829" y="36226"/>
                </a:lnTo>
                <a:lnTo>
                  <a:pt x="72735" y="36698"/>
                </a:lnTo>
                <a:lnTo>
                  <a:pt x="72452" y="36981"/>
                </a:lnTo>
                <a:lnTo>
                  <a:pt x="72169" y="37358"/>
                </a:lnTo>
                <a:lnTo>
                  <a:pt x="72263" y="36981"/>
                </a:lnTo>
                <a:lnTo>
                  <a:pt x="72452" y="36415"/>
                </a:lnTo>
                <a:lnTo>
                  <a:pt x="72452" y="35849"/>
                </a:lnTo>
                <a:lnTo>
                  <a:pt x="72357" y="35660"/>
                </a:lnTo>
                <a:lnTo>
                  <a:pt x="72263" y="35471"/>
                </a:lnTo>
                <a:lnTo>
                  <a:pt x="72640" y="33868"/>
                </a:lnTo>
                <a:lnTo>
                  <a:pt x="72735" y="33113"/>
                </a:lnTo>
                <a:lnTo>
                  <a:pt x="72735" y="32358"/>
                </a:lnTo>
                <a:lnTo>
                  <a:pt x="72923" y="33207"/>
                </a:lnTo>
                <a:lnTo>
                  <a:pt x="73018" y="34151"/>
                </a:lnTo>
                <a:lnTo>
                  <a:pt x="72923" y="32358"/>
                </a:lnTo>
                <a:lnTo>
                  <a:pt x="72923" y="31792"/>
                </a:lnTo>
                <a:lnTo>
                  <a:pt x="73112" y="30754"/>
                </a:lnTo>
                <a:lnTo>
                  <a:pt x="72829" y="31604"/>
                </a:lnTo>
                <a:lnTo>
                  <a:pt x="72735" y="30283"/>
                </a:lnTo>
                <a:lnTo>
                  <a:pt x="72546" y="28868"/>
                </a:lnTo>
                <a:lnTo>
                  <a:pt x="72357" y="27641"/>
                </a:lnTo>
                <a:lnTo>
                  <a:pt x="71980" y="26038"/>
                </a:lnTo>
                <a:lnTo>
                  <a:pt x="71414" y="24151"/>
                </a:lnTo>
                <a:lnTo>
                  <a:pt x="70754" y="22170"/>
                </a:lnTo>
                <a:lnTo>
                  <a:pt x="69905" y="20000"/>
                </a:lnTo>
                <a:lnTo>
                  <a:pt x="68867" y="18019"/>
                </a:lnTo>
                <a:lnTo>
                  <a:pt x="68301" y="16981"/>
                </a:lnTo>
                <a:lnTo>
                  <a:pt x="67735" y="16132"/>
                </a:lnTo>
                <a:lnTo>
                  <a:pt x="67074" y="15283"/>
                </a:lnTo>
                <a:lnTo>
                  <a:pt x="66414" y="14434"/>
                </a:lnTo>
                <a:lnTo>
                  <a:pt x="66508" y="14623"/>
                </a:lnTo>
                <a:lnTo>
                  <a:pt x="66414" y="14906"/>
                </a:lnTo>
                <a:lnTo>
                  <a:pt x="65754" y="14057"/>
                </a:lnTo>
                <a:lnTo>
                  <a:pt x="65093" y="13113"/>
                </a:lnTo>
                <a:lnTo>
                  <a:pt x="64537" y="12278"/>
                </a:lnTo>
                <a:lnTo>
                  <a:pt x="62924" y="10755"/>
                </a:lnTo>
                <a:lnTo>
                  <a:pt x="63018" y="10755"/>
                </a:lnTo>
                <a:lnTo>
                  <a:pt x="63018" y="10661"/>
                </a:lnTo>
                <a:lnTo>
                  <a:pt x="62924" y="10472"/>
                </a:lnTo>
                <a:lnTo>
                  <a:pt x="62263" y="9717"/>
                </a:lnTo>
                <a:lnTo>
                  <a:pt x="60376" y="7830"/>
                </a:lnTo>
                <a:lnTo>
                  <a:pt x="60754" y="8396"/>
                </a:lnTo>
                <a:lnTo>
                  <a:pt x="61131" y="8774"/>
                </a:lnTo>
                <a:lnTo>
                  <a:pt x="60376" y="8396"/>
                </a:lnTo>
                <a:lnTo>
                  <a:pt x="59716" y="7925"/>
                </a:lnTo>
                <a:lnTo>
                  <a:pt x="59087" y="7476"/>
                </a:lnTo>
                <a:lnTo>
                  <a:pt x="59810" y="8302"/>
                </a:lnTo>
                <a:lnTo>
                  <a:pt x="58678" y="7642"/>
                </a:lnTo>
                <a:lnTo>
                  <a:pt x="57641" y="6981"/>
                </a:lnTo>
                <a:lnTo>
                  <a:pt x="55471" y="5472"/>
                </a:lnTo>
                <a:lnTo>
                  <a:pt x="53301" y="4057"/>
                </a:lnTo>
                <a:lnTo>
                  <a:pt x="52169" y="3397"/>
                </a:lnTo>
                <a:lnTo>
                  <a:pt x="51037" y="2831"/>
                </a:lnTo>
                <a:lnTo>
                  <a:pt x="52075" y="2831"/>
                </a:lnTo>
                <a:lnTo>
                  <a:pt x="50660" y="1982"/>
                </a:lnTo>
                <a:lnTo>
                  <a:pt x="49811" y="1604"/>
                </a:lnTo>
                <a:lnTo>
                  <a:pt x="48867" y="1227"/>
                </a:lnTo>
                <a:lnTo>
                  <a:pt x="48018" y="849"/>
                </a:lnTo>
                <a:lnTo>
                  <a:pt x="47075" y="661"/>
                </a:lnTo>
                <a:lnTo>
                  <a:pt x="46226" y="566"/>
                </a:lnTo>
                <a:lnTo>
                  <a:pt x="45471" y="661"/>
                </a:lnTo>
                <a:lnTo>
                  <a:pt x="46226" y="849"/>
                </a:lnTo>
                <a:lnTo>
                  <a:pt x="46866" y="1215"/>
                </a:lnTo>
                <a:lnTo>
                  <a:pt x="46980" y="1227"/>
                </a:lnTo>
                <a:lnTo>
                  <a:pt x="47452" y="1416"/>
                </a:lnTo>
                <a:lnTo>
                  <a:pt x="47924" y="1510"/>
                </a:lnTo>
                <a:lnTo>
                  <a:pt x="47358" y="1321"/>
                </a:lnTo>
                <a:lnTo>
                  <a:pt x="46886" y="944"/>
                </a:lnTo>
                <a:lnTo>
                  <a:pt x="47829" y="1227"/>
                </a:lnTo>
                <a:lnTo>
                  <a:pt x="48773" y="1604"/>
                </a:lnTo>
                <a:lnTo>
                  <a:pt x="49622" y="2076"/>
                </a:lnTo>
                <a:lnTo>
                  <a:pt x="50377" y="2642"/>
                </a:lnTo>
                <a:lnTo>
                  <a:pt x="50377" y="2642"/>
                </a:lnTo>
                <a:lnTo>
                  <a:pt x="49622" y="2265"/>
                </a:lnTo>
                <a:lnTo>
                  <a:pt x="48584" y="1887"/>
                </a:lnTo>
                <a:lnTo>
                  <a:pt x="47358" y="1510"/>
                </a:lnTo>
                <a:lnTo>
                  <a:pt x="46037" y="1132"/>
                </a:lnTo>
                <a:lnTo>
                  <a:pt x="46809" y="1210"/>
                </a:lnTo>
                <a:lnTo>
                  <a:pt x="44339" y="661"/>
                </a:lnTo>
                <a:lnTo>
                  <a:pt x="44716" y="755"/>
                </a:lnTo>
                <a:lnTo>
                  <a:pt x="43113" y="472"/>
                </a:lnTo>
                <a:lnTo>
                  <a:pt x="41603" y="283"/>
                </a:lnTo>
                <a:lnTo>
                  <a:pt x="40282" y="95"/>
                </a:lnTo>
                <a:lnTo>
                  <a:pt x="39150" y="0"/>
                </a:lnTo>
                <a:close/>
              </a:path>
            </a:pathLst>
          </a:custGeom>
          <a:solidFill>
            <a:schemeClr val="accent6"/>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40" name="TextBox 39">
            <a:extLst>
              <a:ext uri="{FF2B5EF4-FFF2-40B4-BE49-F238E27FC236}">
                <a16:creationId xmlns:a16="http://schemas.microsoft.com/office/drawing/2014/main" id="{5EE86C41-8503-73D4-F123-944D58533171}"/>
              </a:ext>
            </a:extLst>
          </p:cNvPr>
          <p:cNvSpPr txBox="1"/>
          <p:nvPr/>
        </p:nvSpPr>
        <p:spPr>
          <a:xfrm>
            <a:off x="4810408" y="2898020"/>
            <a:ext cx="2571185" cy="615553"/>
          </a:xfrm>
          <a:prstGeom prst="rect">
            <a:avLst/>
          </a:prstGeom>
          <a:noFill/>
        </p:spPr>
        <p:txBody>
          <a:bodyPr wrap="square" lIns="0" tIns="0" rIns="0" bIns="0" rtlCol="0">
            <a:spAutoFit/>
          </a:bodyPr>
          <a:lstStyle/>
          <a:p>
            <a:pPr algn="ctr"/>
            <a:r>
              <a:rPr lang="da-DK" sz="4000" b="1">
                <a:latin typeface="Amatic SC" panose="00000500000000000000" pitchFamily="2" charset="-79"/>
                <a:cs typeface="Amatic SC" panose="00000500000000000000" pitchFamily="2" charset="-79"/>
              </a:rPr>
              <a:t>AKTIV LYTNING</a:t>
            </a:r>
          </a:p>
        </p:txBody>
      </p:sp>
      <p:sp>
        <p:nvSpPr>
          <p:cNvPr id="41" name="Rectangle 40">
            <a:extLst>
              <a:ext uri="{FF2B5EF4-FFF2-40B4-BE49-F238E27FC236}">
                <a16:creationId xmlns:a16="http://schemas.microsoft.com/office/drawing/2014/main" id="{857A8BF5-4D86-427E-4527-9C48D4CC4E8B}"/>
              </a:ext>
            </a:extLst>
          </p:cNvPr>
          <p:cNvSpPr/>
          <p:nvPr/>
        </p:nvSpPr>
        <p:spPr>
          <a:xfrm>
            <a:off x="588438" y="205672"/>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42" name="TextBox 41">
            <a:extLst>
              <a:ext uri="{FF2B5EF4-FFF2-40B4-BE49-F238E27FC236}">
                <a16:creationId xmlns:a16="http://schemas.microsoft.com/office/drawing/2014/main" id="{3D928DB6-D9E8-7D3A-0EFC-790EE3426CE6}"/>
              </a:ext>
            </a:extLst>
          </p:cNvPr>
          <p:cNvSpPr txBox="1"/>
          <p:nvPr/>
        </p:nvSpPr>
        <p:spPr bwMode="auto">
          <a:xfrm>
            <a:off x="1125463" y="659967"/>
            <a:ext cx="3305831"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rPr>
              <a:t>Hvad undrer mig? </a:t>
            </a:r>
          </a:p>
          <a:p>
            <a:pPr marR="0" algn="l" defTabSz="457200" rtl="0" eaLnBrk="0" fontAlgn="base" latinLnBrk="0" hangingPunct="0">
              <a:spcBef>
                <a:spcPct val="0"/>
              </a:spcBef>
              <a:buClrTx/>
              <a:buSzTx/>
              <a:tabLst/>
            </a:pPr>
            <a:r>
              <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rPr>
              <a:t>Hvilke spørgsmål har jeg?</a:t>
            </a:r>
          </a:p>
        </p:txBody>
      </p:sp>
      <p:sp>
        <p:nvSpPr>
          <p:cNvPr id="43" name="Shape 317">
            <a:extLst>
              <a:ext uri="{FF2B5EF4-FFF2-40B4-BE49-F238E27FC236}">
                <a16:creationId xmlns:a16="http://schemas.microsoft.com/office/drawing/2014/main" id="{D01313E5-63E6-FA19-8098-789D124D6259}"/>
              </a:ext>
            </a:extLst>
          </p:cNvPr>
          <p:cNvSpPr>
            <a:spLocks noChangeAspect="1"/>
          </p:cNvSpPr>
          <p:nvPr/>
        </p:nvSpPr>
        <p:spPr>
          <a:xfrm>
            <a:off x="608462" y="233813"/>
            <a:ext cx="414154" cy="477759"/>
          </a:xfrm>
          <a:custGeom>
            <a:avLst/>
            <a:gdLst/>
            <a:ahLst/>
            <a:cxnLst/>
            <a:rect l="0" t="0" r="0" b="0"/>
            <a:pathLst>
              <a:path w="18956" h="17763" extrusionOk="0">
                <a:moveTo>
                  <a:pt x="17592" y="6229"/>
                </a:moveTo>
                <a:lnTo>
                  <a:pt x="17836" y="6375"/>
                </a:lnTo>
                <a:lnTo>
                  <a:pt x="17957" y="6473"/>
                </a:lnTo>
                <a:lnTo>
                  <a:pt x="18079" y="6570"/>
                </a:lnTo>
                <a:lnTo>
                  <a:pt x="17933" y="6619"/>
                </a:lnTo>
                <a:lnTo>
                  <a:pt x="17811" y="6667"/>
                </a:lnTo>
                <a:lnTo>
                  <a:pt x="17617" y="6789"/>
                </a:lnTo>
                <a:lnTo>
                  <a:pt x="17592" y="6229"/>
                </a:lnTo>
                <a:close/>
                <a:moveTo>
                  <a:pt x="18225" y="6765"/>
                </a:moveTo>
                <a:lnTo>
                  <a:pt x="18298" y="6911"/>
                </a:lnTo>
                <a:lnTo>
                  <a:pt x="18128" y="6935"/>
                </a:lnTo>
                <a:lnTo>
                  <a:pt x="17957" y="7008"/>
                </a:lnTo>
                <a:lnTo>
                  <a:pt x="17787" y="7081"/>
                </a:lnTo>
                <a:lnTo>
                  <a:pt x="17617" y="7203"/>
                </a:lnTo>
                <a:lnTo>
                  <a:pt x="17617" y="6984"/>
                </a:lnTo>
                <a:lnTo>
                  <a:pt x="17909" y="6862"/>
                </a:lnTo>
                <a:lnTo>
                  <a:pt x="18079" y="6813"/>
                </a:lnTo>
                <a:lnTo>
                  <a:pt x="18225" y="6765"/>
                </a:lnTo>
                <a:close/>
                <a:moveTo>
                  <a:pt x="18371" y="7203"/>
                </a:moveTo>
                <a:lnTo>
                  <a:pt x="18395" y="7397"/>
                </a:lnTo>
                <a:lnTo>
                  <a:pt x="18225" y="7470"/>
                </a:lnTo>
                <a:lnTo>
                  <a:pt x="18079" y="7543"/>
                </a:lnTo>
                <a:lnTo>
                  <a:pt x="17860" y="7689"/>
                </a:lnTo>
                <a:lnTo>
                  <a:pt x="17641" y="7835"/>
                </a:lnTo>
                <a:lnTo>
                  <a:pt x="17641" y="7738"/>
                </a:lnTo>
                <a:lnTo>
                  <a:pt x="17617" y="7470"/>
                </a:lnTo>
                <a:lnTo>
                  <a:pt x="17787" y="7397"/>
                </a:lnTo>
                <a:lnTo>
                  <a:pt x="18347" y="7227"/>
                </a:lnTo>
                <a:lnTo>
                  <a:pt x="18371" y="7203"/>
                </a:lnTo>
                <a:close/>
                <a:moveTo>
                  <a:pt x="18420" y="7689"/>
                </a:moveTo>
                <a:lnTo>
                  <a:pt x="18420" y="7835"/>
                </a:lnTo>
                <a:lnTo>
                  <a:pt x="18420" y="7908"/>
                </a:lnTo>
                <a:lnTo>
                  <a:pt x="18225" y="7981"/>
                </a:lnTo>
                <a:lnTo>
                  <a:pt x="18006" y="8103"/>
                </a:lnTo>
                <a:lnTo>
                  <a:pt x="17811" y="8249"/>
                </a:lnTo>
                <a:lnTo>
                  <a:pt x="17641" y="8395"/>
                </a:lnTo>
                <a:lnTo>
                  <a:pt x="17641" y="8006"/>
                </a:lnTo>
                <a:lnTo>
                  <a:pt x="17860" y="7933"/>
                </a:lnTo>
                <a:lnTo>
                  <a:pt x="18079" y="7835"/>
                </a:lnTo>
                <a:lnTo>
                  <a:pt x="18420" y="7689"/>
                </a:lnTo>
                <a:close/>
                <a:moveTo>
                  <a:pt x="18420" y="8200"/>
                </a:moveTo>
                <a:lnTo>
                  <a:pt x="18395" y="8468"/>
                </a:lnTo>
                <a:lnTo>
                  <a:pt x="18322" y="8492"/>
                </a:lnTo>
                <a:lnTo>
                  <a:pt x="18249" y="8517"/>
                </a:lnTo>
                <a:lnTo>
                  <a:pt x="18103" y="8614"/>
                </a:lnTo>
                <a:lnTo>
                  <a:pt x="17884" y="8736"/>
                </a:lnTo>
                <a:lnTo>
                  <a:pt x="17665" y="8833"/>
                </a:lnTo>
                <a:lnTo>
                  <a:pt x="17665" y="8565"/>
                </a:lnTo>
                <a:lnTo>
                  <a:pt x="17860" y="8517"/>
                </a:lnTo>
                <a:lnTo>
                  <a:pt x="18055" y="8419"/>
                </a:lnTo>
                <a:lnTo>
                  <a:pt x="18225" y="8298"/>
                </a:lnTo>
                <a:lnTo>
                  <a:pt x="18420" y="8200"/>
                </a:lnTo>
                <a:close/>
                <a:moveTo>
                  <a:pt x="18298" y="8784"/>
                </a:moveTo>
                <a:lnTo>
                  <a:pt x="18201" y="8979"/>
                </a:lnTo>
                <a:lnTo>
                  <a:pt x="18079" y="9174"/>
                </a:lnTo>
                <a:lnTo>
                  <a:pt x="17884" y="9344"/>
                </a:lnTo>
                <a:lnTo>
                  <a:pt x="17690" y="9514"/>
                </a:lnTo>
                <a:lnTo>
                  <a:pt x="17665" y="8955"/>
                </a:lnTo>
                <a:lnTo>
                  <a:pt x="17860" y="8930"/>
                </a:lnTo>
                <a:lnTo>
                  <a:pt x="18079" y="8857"/>
                </a:lnTo>
                <a:lnTo>
                  <a:pt x="18298" y="8784"/>
                </a:lnTo>
                <a:close/>
                <a:moveTo>
                  <a:pt x="2969" y="5061"/>
                </a:moveTo>
                <a:lnTo>
                  <a:pt x="3674" y="5086"/>
                </a:lnTo>
                <a:lnTo>
                  <a:pt x="4380" y="5086"/>
                </a:lnTo>
                <a:lnTo>
                  <a:pt x="4331" y="5305"/>
                </a:lnTo>
                <a:lnTo>
                  <a:pt x="4307" y="5572"/>
                </a:lnTo>
                <a:lnTo>
                  <a:pt x="4283" y="6083"/>
                </a:lnTo>
                <a:lnTo>
                  <a:pt x="4258" y="7543"/>
                </a:lnTo>
                <a:lnTo>
                  <a:pt x="4258" y="9003"/>
                </a:lnTo>
                <a:lnTo>
                  <a:pt x="4283" y="10488"/>
                </a:lnTo>
                <a:lnTo>
                  <a:pt x="3869" y="10536"/>
                </a:lnTo>
                <a:lnTo>
                  <a:pt x="3869" y="10512"/>
                </a:lnTo>
                <a:lnTo>
                  <a:pt x="3991" y="10317"/>
                </a:lnTo>
                <a:lnTo>
                  <a:pt x="4088" y="10123"/>
                </a:lnTo>
                <a:lnTo>
                  <a:pt x="4161" y="9904"/>
                </a:lnTo>
                <a:lnTo>
                  <a:pt x="4185" y="9782"/>
                </a:lnTo>
                <a:lnTo>
                  <a:pt x="4185" y="9660"/>
                </a:lnTo>
                <a:lnTo>
                  <a:pt x="4161" y="9612"/>
                </a:lnTo>
                <a:lnTo>
                  <a:pt x="4112" y="9587"/>
                </a:lnTo>
                <a:lnTo>
                  <a:pt x="4064" y="9587"/>
                </a:lnTo>
                <a:lnTo>
                  <a:pt x="4015" y="9612"/>
                </a:lnTo>
                <a:lnTo>
                  <a:pt x="3796" y="9977"/>
                </a:lnTo>
                <a:lnTo>
                  <a:pt x="3601" y="10342"/>
                </a:lnTo>
                <a:lnTo>
                  <a:pt x="3431" y="10561"/>
                </a:lnTo>
                <a:lnTo>
                  <a:pt x="3115" y="10585"/>
                </a:lnTo>
                <a:lnTo>
                  <a:pt x="3115" y="10585"/>
                </a:lnTo>
                <a:lnTo>
                  <a:pt x="3188" y="10390"/>
                </a:lnTo>
                <a:lnTo>
                  <a:pt x="3261" y="10220"/>
                </a:lnTo>
                <a:lnTo>
                  <a:pt x="3334" y="10001"/>
                </a:lnTo>
                <a:lnTo>
                  <a:pt x="3431" y="9806"/>
                </a:lnTo>
                <a:lnTo>
                  <a:pt x="3553" y="9612"/>
                </a:lnTo>
                <a:lnTo>
                  <a:pt x="3626" y="9539"/>
                </a:lnTo>
                <a:lnTo>
                  <a:pt x="3723" y="9490"/>
                </a:lnTo>
                <a:lnTo>
                  <a:pt x="3747" y="9466"/>
                </a:lnTo>
                <a:lnTo>
                  <a:pt x="3747" y="9441"/>
                </a:lnTo>
                <a:lnTo>
                  <a:pt x="3723" y="9417"/>
                </a:lnTo>
                <a:lnTo>
                  <a:pt x="3699" y="9417"/>
                </a:lnTo>
                <a:lnTo>
                  <a:pt x="3601" y="9441"/>
                </a:lnTo>
                <a:lnTo>
                  <a:pt x="3504" y="9466"/>
                </a:lnTo>
                <a:lnTo>
                  <a:pt x="3358" y="9587"/>
                </a:lnTo>
                <a:lnTo>
                  <a:pt x="3212" y="9733"/>
                </a:lnTo>
                <a:lnTo>
                  <a:pt x="3115" y="9904"/>
                </a:lnTo>
                <a:lnTo>
                  <a:pt x="2993" y="10098"/>
                </a:lnTo>
                <a:lnTo>
                  <a:pt x="2896" y="10317"/>
                </a:lnTo>
                <a:lnTo>
                  <a:pt x="2847" y="10463"/>
                </a:lnTo>
                <a:lnTo>
                  <a:pt x="2798" y="10585"/>
                </a:lnTo>
                <a:lnTo>
                  <a:pt x="2409" y="10561"/>
                </a:lnTo>
                <a:lnTo>
                  <a:pt x="2506" y="10244"/>
                </a:lnTo>
                <a:lnTo>
                  <a:pt x="2652" y="9928"/>
                </a:lnTo>
                <a:lnTo>
                  <a:pt x="2823" y="9660"/>
                </a:lnTo>
                <a:lnTo>
                  <a:pt x="3017" y="9393"/>
                </a:lnTo>
                <a:lnTo>
                  <a:pt x="3017" y="9368"/>
                </a:lnTo>
                <a:lnTo>
                  <a:pt x="2993" y="9368"/>
                </a:lnTo>
                <a:lnTo>
                  <a:pt x="2847" y="9441"/>
                </a:lnTo>
                <a:lnTo>
                  <a:pt x="2701" y="9563"/>
                </a:lnTo>
                <a:lnTo>
                  <a:pt x="2579" y="9685"/>
                </a:lnTo>
                <a:lnTo>
                  <a:pt x="2458" y="9831"/>
                </a:lnTo>
                <a:lnTo>
                  <a:pt x="2360" y="10001"/>
                </a:lnTo>
                <a:lnTo>
                  <a:pt x="2287" y="10171"/>
                </a:lnTo>
                <a:lnTo>
                  <a:pt x="2166" y="10512"/>
                </a:lnTo>
                <a:lnTo>
                  <a:pt x="2068" y="10512"/>
                </a:lnTo>
                <a:lnTo>
                  <a:pt x="1776" y="10439"/>
                </a:lnTo>
                <a:lnTo>
                  <a:pt x="1849" y="10366"/>
                </a:lnTo>
                <a:lnTo>
                  <a:pt x="1898" y="10269"/>
                </a:lnTo>
                <a:lnTo>
                  <a:pt x="1995" y="10025"/>
                </a:lnTo>
                <a:lnTo>
                  <a:pt x="2117" y="9806"/>
                </a:lnTo>
                <a:lnTo>
                  <a:pt x="2287" y="9490"/>
                </a:lnTo>
                <a:lnTo>
                  <a:pt x="2385" y="9320"/>
                </a:lnTo>
                <a:lnTo>
                  <a:pt x="2409" y="9149"/>
                </a:lnTo>
                <a:lnTo>
                  <a:pt x="2409" y="9125"/>
                </a:lnTo>
                <a:lnTo>
                  <a:pt x="2360" y="9125"/>
                </a:lnTo>
                <a:lnTo>
                  <a:pt x="2287" y="9174"/>
                </a:lnTo>
                <a:lnTo>
                  <a:pt x="2190" y="9222"/>
                </a:lnTo>
                <a:lnTo>
                  <a:pt x="2044" y="9393"/>
                </a:lnTo>
                <a:lnTo>
                  <a:pt x="1922" y="9563"/>
                </a:lnTo>
                <a:lnTo>
                  <a:pt x="1825" y="9733"/>
                </a:lnTo>
                <a:lnTo>
                  <a:pt x="1752" y="9879"/>
                </a:lnTo>
                <a:lnTo>
                  <a:pt x="1655" y="10050"/>
                </a:lnTo>
                <a:lnTo>
                  <a:pt x="1630" y="10220"/>
                </a:lnTo>
                <a:lnTo>
                  <a:pt x="1630" y="10317"/>
                </a:lnTo>
                <a:lnTo>
                  <a:pt x="1655" y="10390"/>
                </a:lnTo>
                <a:lnTo>
                  <a:pt x="1436" y="10293"/>
                </a:lnTo>
                <a:lnTo>
                  <a:pt x="1217" y="10171"/>
                </a:lnTo>
                <a:lnTo>
                  <a:pt x="1265" y="10098"/>
                </a:lnTo>
                <a:lnTo>
                  <a:pt x="1387" y="9782"/>
                </a:lnTo>
                <a:lnTo>
                  <a:pt x="1557" y="9490"/>
                </a:lnTo>
                <a:lnTo>
                  <a:pt x="1752" y="9174"/>
                </a:lnTo>
                <a:lnTo>
                  <a:pt x="1874" y="9028"/>
                </a:lnTo>
                <a:lnTo>
                  <a:pt x="1971" y="8906"/>
                </a:lnTo>
                <a:lnTo>
                  <a:pt x="1995" y="8857"/>
                </a:lnTo>
                <a:lnTo>
                  <a:pt x="1995" y="8833"/>
                </a:lnTo>
                <a:lnTo>
                  <a:pt x="1922" y="8833"/>
                </a:lnTo>
                <a:lnTo>
                  <a:pt x="1606" y="9052"/>
                </a:lnTo>
                <a:lnTo>
                  <a:pt x="1460" y="9198"/>
                </a:lnTo>
                <a:lnTo>
                  <a:pt x="1314" y="9344"/>
                </a:lnTo>
                <a:lnTo>
                  <a:pt x="1119" y="9636"/>
                </a:lnTo>
                <a:lnTo>
                  <a:pt x="1022" y="9806"/>
                </a:lnTo>
                <a:lnTo>
                  <a:pt x="973" y="9952"/>
                </a:lnTo>
                <a:lnTo>
                  <a:pt x="852" y="9831"/>
                </a:lnTo>
                <a:lnTo>
                  <a:pt x="754" y="9709"/>
                </a:lnTo>
                <a:lnTo>
                  <a:pt x="779" y="9660"/>
                </a:lnTo>
                <a:lnTo>
                  <a:pt x="852" y="9490"/>
                </a:lnTo>
                <a:lnTo>
                  <a:pt x="925" y="9320"/>
                </a:lnTo>
                <a:lnTo>
                  <a:pt x="1144" y="9003"/>
                </a:lnTo>
                <a:lnTo>
                  <a:pt x="1387" y="8736"/>
                </a:lnTo>
                <a:lnTo>
                  <a:pt x="1484" y="8565"/>
                </a:lnTo>
                <a:lnTo>
                  <a:pt x="1582" y="8419"/>
                </a:lnTo>
                <a:lnTo>
                  <a:pt x="1582" y="8371"/>
                </a:lnTo>
                <a:lnTo>
                  <a:pt x="1533" y="8346"/>
                </a:lnTo>
                <a:lnTo>
                  <a:pt x="1436" y="8371"/>
                </a:lnTo>
                <a:lnTo>
                  <a:pt x="1338" y="8419"/>
                </a:lnTo>
                <a:lnTo>
                  <a:pt x="1217" y="8468"/>
                </a:lnTo>
                <a:lnTo>
                  <a:pt x="1119" y="8565"/>
                </a:lnTo>
                <a:lnTo>
                  <a:pt x="949" y="8736"/>
                </a:lnTo>
                <a:lnTo>
                  <a:pt x="827" y="8906"/>
                </a:lnTo>
                <a:lnTo>
                  <a:pt x="681" y="9052"/>
                </a:lnTo>
                <a:lnTo>
                  <a:pt x="560" y="9247"/>
                </a:lnTo>
                <a:lnTo>
                  <a:pt x="511" y="9003"/>
                </a:lnTo>
                <a:lnTo>
                  <a:pt x="535" y="8930"/>
                </a:lnTo>
                <a:lnTo>
                  <a:pt x="633" y="8760"/>
                </a:lnTo>
                <a:lnTo>
                  <a:pt x="730" y="8565"/>
                </a:lnTo>
                <a:lnTo>
                  <a:pt x="998" y="8200"/>
                </a:lnTo>
                <a:lnTo>
                  <a:pt x="1265" y="7835"/>
                </a:lnTo>
                <a:lnTo>
                  <a:pt x="1265" y="7787"/>
                </a:lnTo>
                <a:lnTo>
                  <a:pt x="1241" y="7787"/>
                </a:lnTo>
                <a:lnTo>
                  <a:pt x="1022" y="7908"/>
                </a:lnTo>
                <a:lnTo>
                  <a:pt x="852" y="8054"/>
                </a:lnTo>
                <a:lnTo>
                  <a:pt x="681" y="8200"/>
                </a:lnTo>
                <a:lnTo>
                  <a:pt x="511" y="8395"/>
                </a:lnTo>
                <a:lnTo>
                  <a:pt x="462" y="8444"/>
                </a:lnTo>
                <a:lnTo>
                  <a:pt x="487" y="8030"/>
                </a:lnTo>
                <a:lnTo>
                  <a:pt x="487" y="7981"/>
                </a:lnTo>
                <a:lnTo>
                  <a:pt x="608" y="7835"/>
                </a:lnTo>
                <a:lnTo>
                  <a:pt x="730" y="7689"/>
                </a:lnTo>
                <a:lnTo>
                  <a:pt x="852" y="7543"/>
                </a:lnTo>
                <a:lnTo>
                  <a:pt x="949" y="7373"/>
                </a:lnTo>
                <a:lnTo>
                  <a:pt x="949" y="7349"/>
                </a:lnTo>
                <a:lnTo>
                  <a:pt x="949" y="7324"/>
                </a:lnTo>
                <a:lnTo>
                  <a:pt x="900" y="7324"/>
                </a:lnTo>
                <a:lnTo>
                  <a:pt x="730" y="7446"/>
                </a:lnTo>
                <a:lnTo>
                  <a:pt x="511" y="7592"/>
                </a:lnTo>
                <a:lnTo>
                  <a:pt x="560" y="7276"/>
                </a:lnTo>
                <a:lnTo>
                  <a:pt x="608" y="6959"/>
                </a:lnTo>
                <a:lnTo>
                  <a:pt x="681" y="6643"/>
                </a:lnTo>
                <a:lnTo>
                  <a:pt x="779" y="6351"/>
                </a:lnTo>
                <a:lnTo>
                  <a:pt x="925" y="6083"/>
                </a:lnTo>
                <a:lnTo>
                  <a:pt x="1119" y="5840"/>
                </a:lnTo>
                <a:lnTo>
                  <a:pt x="1338" y="5597"/>
                </a:lnTo>
                <a:lnTo>
                  <a:pt x="1630" y="5402"/>
                </a:lnTo>
                <a:lnTo>
                  <a:pt x="1776" y="5305"/>
                </a:lnTo>
                <a:lnTo>
                  <a:pt x="1922" y="5232"/>
                </a:lnTo>
                <a:lnTo>
                  <a:pt x="2263" y="5134"/>
                </a:lnTo>
                <a:lnTo>
                  <a:pt x="2604" y="5086"/>
                </a:lnTo>
                <a:lnTo>
                  <a:pt x="2969" y="5061"/>
                </a:lnTo>
                <a:close/>
                <a:moveTo>
                  <a:pt x="15622" y="1631"/>
                </a:moveTo>
                <a:lnTo>
                  <a:pt x="15622" y="2044"/>
                </a:lnTo>
                <a:lnTo>
                  <a:pt x="15597" y="2896"/>
                </a:lnTo>
                <a:lnTo>
                  <a:pt x="15597" y="3310"/>
                </a:lnTo>
                <a:lnTo>
                  <a:pt x="15622" y="3748"/>
                </a:lnTo>
                <a:lnTo>
                  <a:pt x="15622" y="4186"/>
                </a:lnTo>
                <a:lnTo>
                  <a:pt x="15622" y="4648"/>
                </a:lnTo>
                <a:lnTo>
                  <a:pt x="15549" y="5524"/>
                </a:lnTo>
                <a:lnTo>
                  <a:pt x="15524" y="6035"/>
                </a:lnTo>
                <a:lnTo>
                  <a:pt x="15524" y="6521"/>
                </a:lnTo>
                <a:lnTo>
                  <a:pt x="15524" y="7519"/>
                </a:lnTo>
                <a:lnTo>
                  <a:pt x="15524" y="9441"/>
                </a:lnTo>
                <a:lnTo>
                  <a:pt x="15500" y="11364"/>
                </a:lnTo>
                <a:lnTo>
                  <a:pt x="15524" y="12142"/>
                </a:lnTo>
                <a:lnTo>
                  <a:pt x="15403" y="12264"/>
                </a:lnTo>
                <a:lnTo>
                  <a:pt x="15281" y="12386"/>
                </a:lnTo>
                <a:lnTo>
                  <a:pt x="15184" y="12532"/>
                </a:lnTo>
                <a:lnTo>
                  <a:pt x="15111" y="12702"/>
                </a:lnTo>
                <a:lnTo>
                  <a:pt x="14940" y="13018"/>
                </a:lnTo>
                <a:lnTo>
                  <a:pt x="14819" y="13334"/>
                </a:lnTo>
                <a:lnTo>
                  <a:pt x="14624" y="13213"/>
                </a:lnTo>
                <a:lnTo>
                  <a:pt x="14746" y="13018"/>
                </a:lnTo>
                <a:lnTo>
                  <a:pt x="14867" y="12775"/>
                </a:lnTo>
                <a:lnTo>
                  <a:pt x="15013" y="12337"/>
                </a:lnTo>
                <a:lnTo>
                  <a:pt x="15184" y="11948"/>
                </a:lnTo>
                <a:lnTo>
                  <a:pt x="15232" y="11729"/>
                </a:lnTo>
                <a:lnTo>
                  <a:pt x="15281" y="11534"/>
                </a:lnTo>
                <a:lnTo>
                  <a:pt x="15281" y="11485"/>
                </a:lnTo>
                <a:lnTo>
                  <a:pt x="15257" y="11485"/>
                </a:lnTo>
                <a:lnTo>
                  <a:pt x="15184" y="11510"/>
                </a:lnTo>
                <a:lnTo>
                  <a:pt x="15111" y="11558"/>
                </a:lnTo>
                <a:lnTo>
                  <a:pt x="15038" y="11607"/>
                </a:lnTo>
                <a:lnTo>
                  <a:pt x="14989" y="11680"/>
                </a:lnTo>
                <a:lnTo>
                  <a:pt x="14916" y="11850"/>
                </a:lnTo>
                <a:lnTo>
                  <a:pt x="14843" y="11996"/>
                </a:lnTo>
                <a:lnTo>
                  <a:pt x="14527" y="12629"/>
                </a:lnTo>
                <a:lnTo>
                  <a:pt x="14405" y="12824"/>
                </a:lnTo>
                <a:lnTo>
                  <a:pt x="14332" y="13042"/>
                </a:lnTo>
                <a:lnTo>
                  <a:pt x="14016" y="12872"/>
                </a:lnTo>
                <a:lnTo>
                  <a:pt x="14089" y="12799"/>
                </a:lnTo>
                <a:lnTo>
                  <a:pt x="14162" y="12726"/>
                </a:lnTo>
                <a:lnTo>
                  <a:pt x="14259" y="12532"/>
                </a:lnTo>
                <a:lnTo>
                  <a:pt x="14405" y="12118"/>
                </a:lnTo>
                <a:lnTo>
                  <a:pt x="14673" y="11558"/>
                </a:lnTo>
                <a:lnTo>
                  <a:pt x="14965" y="10999"/>
                </a:lnTo>
                <a:lnTo>
                  <a:pt x="14965" y="10974"/>
                </a:lnTo>
                <a:lnTo>
                  <a:pt x="14940" y="10950"/>
                </a:lnTo>
                <a:lnTo>
                  <a:pt x="14794" y="11047"/>
                </a:lnTo>
                <a:lnTo>
                  <a:pt x="14697" y="11145"/>
                </a:lnTo>
                <a:lnTo>
                  <a:pt x="14502" y="11364"/>
                </a:lnTo>
                <a:lnTo>
                  <a:pt x="14332" y="11607"/>
                </a:lnTo>
                <a:lnTo>
                  <a:pt x="14210" y="11875"/>
                </a:lnTo>
                <a:lnTo>
                  <a:pt x="13967" y="12288"/>
                </a:lnTo>
                <a:lnTo>
                  <a:pt x="13870" y="12532"/>
                </a:lnTo>
                <a:lnTo>
                  <a:pt x="13821" y="12653"/>
                </a:lnTo>
                <a:lnTo>
                  <a:pt x="13821" y="12775"/>
                </a:lnTo>
                <a:lnTo>
                  <a:pt x="13626" y="12678"/>
                </a:lnTo>
                <a:lnTo>
                  <a:pt x="13651" y="12605"/>
                </a:lnTo>
                <a:lnTo>
                  <a:pt x="13675" y="12507"/>
                </a:lnTo>
                <a:lnTo>
                  <a:pt x="13724" y="12337"/>
                </a:lnTo>
                <a:lnTo>
                  <a:pt x="13797" y="12167"/>
                </a:lnTo>
                <a:lnTo>
                  <a:pt x="13943" y="11875"/>
                </a:lnTo>
                <a:lnTo>
                  <a:pt x="14064" y="11558"/>
                </a:lnTo>
                <a:lnTo>
                  <a:pt x="14162" y="11218"/>
                </a:lnTo>
                <a:lnTo>
                  <a:pt x="14259" y="10901"/>
                </a:lnTo>
                <a:lnTo>
                  <a:pt x="14405" y="10585"/>
                </a:lnTo>
                <a:lnTo>
                  <a:pt x="14405" y="10561"/>
                </a:lnTo>
                <a:lnTo>
                  <a:pt x="14356" y="10561"/>
                </a:lnTo>
                <a:lnTo>
                  <a:pt x="14259" y="10634"/>
                </a:lnTo>
                <a:lnTo>
                  <a:pt x="14162" y="10731"/>
                </a:lnTo>
                <a:lnTo>
                  <a:pt x="13991" y="10950"/>
                </a:lnTo>
                <a:lnTo>
                  <a:pt x="13870" y="11218"/>
                </a:lnTo>
                <a:lnTo>
                  <a:pt x="13772" y="11461"/>
                </a:lnTo>
                <a:lnTo>
                  <a:pt x="13651" y="11729"/>
                </a:lnTo>
                <a:lnTo>
                  <a:pt x="13505" y="11996"/>
                </a:lnTo>
                <a:lnTo>
                  <a:pt x="13383" y="12264"/>
                </a:lnTo>
                <a:lnTo>
                  <a:pt x="13359" y="12410"/>
                </a:lnTo>
                <a:lnTo>
                  <a:pt x="13334" y="12556"/>
                </a:lnTo>
                <a:lnTo>
                  <a:pt x="12872" y="12337"/>
                </a:lnTo>
                <a:lnTo>
                  <a:pt x="12994" y="12191"/>
                </a:lnTo>
                <a:lnTo>
                  <a:pt x="13115" y="12021"/>
                </a:lnTo>
                <a:lnTo>
                  <a:pt x="13310" y="11607"/>
                </a:lnTo>
                <a:lnTo>
                  <a:pt x="13772" y="10609"/>
                </a:lnTo>
                <a:lnTo>
                  <a:pt x="13772" y="10585"/>
                </a:lnTo>
                <a:lnTo>
                  <a:pt x="13772" y="10561"/>
                </a:lnTo>
                <a:lnTo>
                  <a:pt x="13748" y="10561"/>
                </a:lnTo>
                <a:lnTo>
                  <a:pt x="13724" y="10585"/>
                </a:lnTo>
                <a:lnTo>
                  <a:pt x="13456" y="10999"/>
                </a:lnTo>
                <a:lnTo>
                  <a:pt x="13188" y="11412"/>
                </a:lnTo>
                <a:lnTo>
                  <a:pt x="12945" y="11850"/>
                </a:lnTo>
                <a:lnTo>
                  <a:pt x="12823" y="12069"/>
                </a:lnTo>
                <a:lnTo>
                  <a:pt x="12750" y="12313"/>
                </a:lnTo>
                <a:lnTo>
                  <a:pt x="12361" y="12118"/>
                </a:lnTo>
                <a:lnTo>
                  <a:pt x="12288" y="12094"/>
                </a:lnTo>
                <a:lnTo>
                  <a:pt x="12337" y="11923"/>
                </a:lnTo>
                <a:lnTo>
                  <a:pt x="12458" y="11631"/>
                </a:lnTo>
                <a:lnTo>
                  <a:pt x="12604" y="11339"/>
                </a:lnTo>
                <a:lnTo>
                  <a:pt x="12823" y="10828"/>
                </a:lnTo>
                <a:lnTo>
                  <a:pt x="12945" y="10585"/>
                </a:lnTo>
                <a:lnTo>
                  <a:pt x="13091" y="10342"/>
                </a:lnTo>
                <a:lnTo>
                  <a:pt x="13091" y="10293"/>
                </a:lnTo>
                <a:lnTo>
                  <a:pt x="13067" y="10244"/>
                </a:lnTo>
                <a:lnTo>
                  <a:pt x="12969" y="10244"/>
                </a:lnTo>
                <a:lnTo>
                  <a:pt x="12775" y="10463"/>
                </a:lnTo>
                <a:lnTo>
                  <a:pt x="12604" y="10682"/>
                </a:lnTo>
                <a:lnTo>
                  <a:pt x="12458" y="10926"/>
                </a:lnTo>
                <a:lnTo>
                  <a:pt x="12312" y="11193"/>
                </a:lnTo>
                <a:lnTo>
                  <a:pt x="12118" y="11510"/>
                </a:lnTo>
                <a:lnTo>
                  <a:pt x="12020" y="11729"/>
                </a:lnTo>
                <a:lnTo>
                  <a:pt x="11947" y="11923"/>
                </a:lnTo>
                <a:lnTo>
                  <a:pt x="11655" y="11802"/>
                </a:lnTo>
                <a:lnTo>
                  <a:pt x="11728" y="11631"/>
                </a:lnTo>
                <a:lnTo>
                  <a:pt x="11777" y="11461"/>
                </a:lnTo>
                <a:lnTo>
                  <a:pt x="11874" y="11145"/>
                </a:lnTo>
                <a:lnTo>
                  <a:pt x="12118" y="10658"/>
                </a:lnTo>
                <a:lnTo>
                  <a:pt x="12239" y="10415"/>
                </a:lnTo>
                <a:lnTo>
                  <a:pt x="12385" y="10196"/>
                </a:lnTo>
                <a:lnTo>
                  <a:pt x="12410" y="10171"/>
                </a:lnTo>
                <a:lnTo>
                  <a:pt x="12385" y="10147"/>
                </a:lnTo>
                <a:lnTo>
                  <a:pt x="12361" y="10123"/>
                </a:lnTo>
                <a:lnTo>
                  <a:pt x="12312" y="10147"/>
                </a:lnTo>
                <a:lnTo>
                  <a:pt x="12142" y="10342"/>
                </a:lnTo>
                <a:lnTo>
                  <a:pt x="11972" y="10561"/>
                </a:lnTo>
                <a:lnTo>
                  <a:pt x="11826" y="10780"/>
                </a:lnTo>
                <a:lnTo>
                  <a:pt x="11704" y="11023"/>
                </a:lnTo>
                <a:lnTo>
                  <a:pt x="11534" y="11339"/>
                </a:lnTo>
                <a:lnTo>
                  <a:pt x="11461" y="11510"/>
                </a:lnTo>
                <a:lnTo>
                  <a:pt x="11436" y="11704"/>
                </a:lnTo>
                <a:lnTo>
                  <a:pt x="10974" y="11510"/>
                </a:lnTo>
                <a:lnTo>
                  <a:pt x="11120" y="11120"/>
                </a:lnTo>
                <a:lnTo>
                  <a:pt x="11315" y="10755"/>
                </a:lnTo>
                <a:lnTo>
                  <a:pt x="11534" y="10317"/>
                </a:lnTo>
                <a:lnTo>
                  <a:pt x="11655" y="10123"/>
                </a:lnTo>
                <a:lnTo>
                  <a:pt x="11801" y="9928"/>
                </a:lnTo>
                <a:lnTo>
                  <a:pt x="11801" y="9904"/>
                </a:lnTo>
                <a:lnTo>
                  <a:pt x="11680" y="9952"/>
                </a:lnTo>
                <a:lnTo>
                  <a:pt x="11582" y="10001"/>
                </a:lnTo>
                <a:lnTo>
                  <a:pt x="11485" y="10074"/>
                </a:lnTo>
                <a:lnTo>
                  <a:pt x="11412" y="10171"/>
                </a:lnTo>
                <a:lnTo>
                  <a:pt x="11266" y="10366"/>
                </a:lnTo>
                <a:lnTo>
                  <a:pt x="11144" y="10561"/>
                </a:lnTo>
                <a:lnTo>
                  <a:pt x="10877" y="10974"/>
                </a:lnTo>
                <a:lnTo>
                  <a:pt x="10755" y="11193"/>
                </a:lnTo>
                <a:lnTo>
                  <a:pt x="10706" y="11315"/>
                </a:lnTo>
                <a:lnTo>
                  <a:pt x="10682" y="11437"/>
                </a:lnTo>
                <a:lnTo>
                  <a:pt x="10633" y="11412"/>
                </a:lnTo>
                <a:lnTo>
                  <a:pt x="10244" y="11315"/>
                </a:lnTo>
                <a:lnTo>
                  <a:pt x="10366" y="11023"/>
                </a:lnTo>
                <a:lnTo>
                  <a:pt x="10487" y="10731"/>
                </a:lnTo>
                <a:lnTo>
                  <a:pt x="10731" y="10244"/>
                </a:lnTo>
                <a:lnTo>
                  <a:pt x="10974" y="9782"/>
                </a:lnTo>
                <a:lnTo>
                  <a:pt x="10974" y="9758"/>
                </a:lnTo>
                <a:lnTo>
                  <a:pt x="10950" y="9758"/>
                </a:lnTo>
                <a:lnTo>
                  <a:pt x="10779" y="9928"/>
                </a:lnTo>
                <a:lnTo>
                  <a:pt x="10609" y="10123"/>
                </a:lnTo>
                <a:lnTo>
                  <a:pt x="10487" y="10317"/>
                </a:lnTo>
                <a:lnTo>
                  <a:pt x="10341" y="10536"/>
                </a:lnTo>
                <a:lnTo>
                  <a:pt x="10147" y="10877"/>
                </a:lnTo>
                <a:lnTo>
                  <a:pt x="10049" y="11072"/>
                </a:lnTo>
                <a:lnTo>
                  <a:pt x="9976" y="11266"/>
                </a:lnTo>
                <a:lnTo>
                  <a:pt x="9441" y="11169"/>
                </a:lnTo>
                <a:lnTo>
                  <a:pt x="9611" y="10828"/>
                </a:lnTo>
                <a:lnTo>
                  <a:pt x="9806" y="10463"/>
                </a:lnTo>
                <a:lnTo>
                  <a:pt x="9903" y="10269"/>
                </a:lnTo>
                <a:lnTo>
                  <a:pt x="9903" y="10171"/>
                </a:lnTo>
                <a:lnTo>
                  <a:pt x="9903" y="10074"/>
                </a:lnTo>
                <a:lnTo>
                  <a:pt x="9903" y="10050"/>
                </a:lnTo>
                <a:lnTo>
                  <a:pt x="9879" y="10050"/>
                </a:lnTo>
                <a:lnTo>
                  <a:pt x="9782" y="10098"/>
                </a:lnTo>
                <a:lnTo>
                  <a:pt x="9709" y="10147"/>
                </a:lnTo>
                <a:lnTo>
                  <a:pt x="9563" y="10317"/>
                </a:lnTo>
                <a:lnTo>
                  <a:pt x="9441" y="10488"/>
                </a:lnTo>
                <a:lnTo>
                  <a:pt x="9344" y="10658"/>
                </a:lnTo>
                <a:lnTo>
                  <a:pt x="9198" y="10877"/>
                </a:lnTo>
                <a:lnTo>
                  <a:pt x="9149" y="10999"/>
                </a:lnTo>
                <a:lnTo>
                  <a:pt x="9076" y="11120"/>
                </a:lnTo>
                <a:lnTo>
                  <a:pt x="8930" y="11072"/>
                </a:lnTo>
                <a:lnTo>
                  <a:pt x="8492" y="10974"/>
                </a:lnTo>
                <a:lnTo>
                  <a:pt x="8638" y="10731"/>
                </a:lnTo>
                <a:lnTo>
                  <a:pt x="8930" y="10244"/>
                </a:lnTo>
                <a:lnTo>
                  <a:pt x="9100" y="10025"/>
                </a:lnTo>
                <a:lnTo>
                  <a:pt x="9246" y="9782"/>
                </a:lnTo>
                <a:lnTo>
                  <a:pt x="9271" y="9758"/>
                </a:lnTo>
                <a:lnTo>
                  <a:pt x="9271" y="9733"/>
                </a:lnTo>
                <a:lnTo>
                  <a:pt x="9222" y="9733"/>
                </a:lnTo>
                <a:lnTo>
                  <a:pt x="9027" y="9879"/>
                </a:lnTo>
                <a:lnTo>
                  <a:pt x="8857" y="10025"/>
                </a:lnTo>
                <a:lnTo>
                  <a:pt x="8687" y="10196"/>
                </a:lnTo>
                <a:lnTo>
                  <a:pt x="8565" y="10390"/>
                </a:lnTo>
                <a:lnTo>
                  <a:pt x="8370" y="10634"/>
                </a:lnTo>
                <a:lnTo>
                  <a:pt x="8273" y="10780"/>
                </a:lnTo>
                <a:lnTo>
                  <a:pt x="8200" y="10926"/>
                </a:lnTo>
                <a:lnTo>
                  <a:pt x="7932" y="10853"/>
                </a:lnTo>
                <a:lnTo>
                  <a:pt x="8078" y="10536"/>
                </a:lnTo>
                <a:lnTo>
                  <a:pt x="8273" y="10220"/>
                </a:lnTo>
                <a:lnTo>
                  <a:pt x="8370" y="10074"/>
                </a:lnTo>
                <a:lnTo>
                  <a:pt x="8492" y="9952"/>
                </a:lnTo>
                <a:lnTo>
                  <a:pt x="8492" y="9928"/>
                </a:lnTo>
                <a:lnTo>
                  <a:pt x="8492" y="9904"/>
                </a:lnTo>
                <a:lnTo>
                  <a:pt x="8468" y="9879"/>
                </a:lnTo>
                <a:lnTo>
                  <a:pt x="8443" y="9904"/>
                </a:lnTo>
                <a:lnTo>
                  <a:pt x="8273" y="9977"/>
                </a:lnTo>
                <a:lnTo>
                  <a:pt x="8127" y="10074"/>
                </a:lnTo>
                <a:lnTo>
                  <a:pt x="8005" y="10196"/>
                </a:lnTo>
                <a:lnTo>
                  <a:pt x="7884" y="10342"/>
                </a:lnTo>
                <a:lnTo>
                  <a:pt x="7738" y="10561"/>
                </a:lnTo>
                <a:lnTo>
                  <a:pt x="7616" y="10804"/>
                </a:lnTo>
                <a:lnTo>
                  <a:pt x="7300" y="10731"/>
                </a:lnTo>
                <a:lnTo>
                  <a:pt x="7397" y="10561"/>
                </a:lnTo>
                <a:lnTo>
                  <a:pt x="7495" y="10390"/>
                </a:lnTo>
                <a:lnTo>
                  <a:pt x="7641" y="10123"/>
                </a:lnTo>
                <a:lnTo>
                  <a:pt x="7714" y="9977"/>
                </a:lnTo>
                <a:lnTo>
                  <a:pt x="7714" y="9831"/>
                </a:lnTo>
                <a:lnTo>
                  <a:pt x="7689" y="9831"/>
                </a:lnTo>
                <a:lnTo>
                  <a:pt x="7592" y="9904"/>
                </a:lnTo>
                <a:lnTo>
                  <a:pt x="7470" y="10025"/>
                </a:lnTo>
                <a:lnTo>
                  <a:pt x="7324" y="10293"/>
                </a:lnTo>
                <a:lnTo>
                  <a:pt x="7178" y="10488"/>
                </a:lnTo>
                <a:lnTo>
                  <a:pt x="7105" y="10585"/>
                </a:lnTo>
                <a:lnTo>
                  <a:pt x="7057" y="10682"/>
                </a:lnTo>
                <a:lnTo>
                  <a:pt x="6643" y="10585"/>
                </a:lnTo>
                <a:lnTo>
                  <a:pt x="6692" y="10488"/>
                </a:lnTo>
                <a:lnTo>
                  <a:pt x="6789" y="10293"/>
                </a:lnTo>
                <a:lnTo>
                  <a:pt x="6886" y="10074"/>
                </a:lnTo>
                <a:lnTo>
                  <a:pt x="7057" y="9636"/>
                </a:lnTo>
                <a:lnTo>
                  <a:pt x="7057" y="9612"/>
                </a:lnTo>
                <a:lnTo>
                  <a:pt x="7032" y="9587"/>
                </a:lnTo>
                <a:lnTo>
                  <a:pt x="7008" y="9612"/>
                </a:lnTo>
                <a:lnTo>
                  <a:pt x="6765" y="9904"/>
                </a:lnTo>
                <a:lnTo>
                  <a:pt x="6521" y="10196"/>
                </a:lnTo>
                <a:lnTo>
                  <a:pt x="6400" y="10342"/>
                </a:lnTo>
                <a:lnTo>
                  <a:pt x="6254" y="10512"/>
                </a:lnTo>
                <a:lnTo>
                  <a:pt x="5816" y="10463"/>
                </a:lnTo>
                <a:lnTo>
                  <a:pt x="5889" y="10244"/>
                </a:lnTo>
                <a:lnTo>
                  <a:pt x="6010" y="10050"/>
                </a:lnTo>
                <a:lnTo>
                  <a:pt x="6205" y="9806"/>
                </a:lnTo>
                <a:lnTo>
                  <a:pt x="6278" y="9685"/>
                </a:lnTo>
                <a:lnTo>
                  <a:pt x="6302" y="9612"/>
                </a:lnTo>
                <a:lnTo>
                  <a:pt x="6327" y="9539"/>
                </a:lnTo>
                <a:lnTo>
                  <a:pt x="6302" y="9514"/>
                </a:lnTo>
                <a:lnTo>
                  <a:pt x="6205" y="9514"/>
                </a:lnTo>
                <a:lnTo>
                  <a:pt x="6132" y="9539"/>
                </a:lnTo>
                <a:lnTo>
                  <a:pt x="5986" y="9660"/>
                </a:lnTo>
                <a:lnTo>
                  <a:pt x="5864" y="9782"/>
                </a:lnTo>
                <a:lnTo>
                  <a:pt x="5767" y="9928"/>
                </a:lnTo>
                <a:lnTo>
                  <a:pt x="5597" y="10171"/>
                </a:lnTo>
                <a:lnTo>
                  <a:pt x="5524" y="10293"/>
                </a:lnTo>
                <a:lnTo>
                  <a:pt x="5475" y="10439"/>
                </a:lnTo>
                <a:lnTo>
                  <a:pt x="5256" y="10463"/>
                </a:lnTo>
                <a:lnTo>
                  <a:pt x="5061" y="10488"/>
                </a:lnTo>
                <a:lnTo>
                  <a:pt x="5183" y="10220"/>
                </a:lnTo>
                <a:lnTo>
                  <a:pt x="5378" y="9855"/>
                </a:lnTo>
                <a:lnTo>
                  <a:pt x="5475" y="9660"/>
                </a:lnTo>
                <a:lnTo>
                  <a:pt x="5597" y="9490"/>
                </a:lnTo>
                <a:lnTo>
                  <a:pt x="5378" y="9636"/>
                </a:lnTo>
                <a:lnTo>
                  <a:pt x="5183" y="9806"/>
                </a:lnTo>
                <a:lnTo>
                  <a:pt x="4988" y="10025"/>
                </a:lnTo>
                <a:lnTo>
                  <a:pt x="4818" y="10244"/>
                </a:lnTo>
                <a:lnTo>
                  <a:pt x="4818" y="8979"/>
                </a:lnTo>
                <a:lnTo>
                  <a:pt x="4794" y="7714"/>
                </a:lnTo>
                <a:lnTo>
                  <a:pt x="4794" y="6254"/>
                </a:lnTo>
                <a:lnTo>
                  <a:pt x="4794" y="5718"/>
                </a:lnTo>
                <a:lnTo>
                  <a:pt x="4794" y="5426"/>
                </a:lnTo>
                <a:lnTo>
                  <a:pt x="4769" y="5159"/>
                </a:lnTo>
                <a:lnTo>
                  <a:pt x="5086" y="5159"/>
                </a:lnTo>
                <a:lnTo>
                  <a:pt x="5986" y="5134"/>
                </a:lnTo>
                <a:lnTo>
                  <a:pt x="6886" y="5086"/>
                </a:lnTo>
                <a:lnTo>
                  <a:pt x="7349" y="5037"/>
                </a:lnTo>
                <a:lnTo>
                  <a:pt x="7835" y="4988"/>
                </a:lnTo>
                <a:lnTo>
                  <a:pt x="8297" y="4916"/>
                </a:lnTo>
                <a:lnTo>
                  <a:pt x="8784" y="4843"/>
                </a:lnTo>
                <a:lnTo>
                  <a:pt x="9709" y="4624"/>
                </a:lnTo>
                <a:lnTo>
                  <a:pt x="10633" y="4356"/>
                </a:lnTo>
                <a:lnTo>
                  <a:pt x="11071" y="4210"/>
                </a:lnTo>
                <a:lnTo>
                  <a:pt x="11509" y="4040"/>
                </a:lnTo>
                <a:lnTo>
                  <a:pt x="11923" y="3869"/>
                </a:lnTo>
                <a:lnTo>
                  <a:pt x="12361" y="3675"/>
                </a:lnTo>
                <a:lnTo>
                  <a:pt x="13188" y="3261"/>
                </a:lnTo>
                <a:lnTo>
                  <a:pt x="14016" y="2823"/>
                </a:lnTo>
                <a:lnTo>
                  <a:pt x="14308" y="2653"/>
                </a:lnTo>
                <a:lnTo>
                  <a:pt x="14575" y="2458"/>
                </a:lnTo>
                <a:lnTo>
                  <a:pt x="15111" y="2044"/>
                </a:lnTo>
                <a:lnTo>
                  <a:pt x="15354" y="1850"/>
                </a:lnTo>
                <a:lnTo>
                  <a:pt x="15500" y="1752"/>
                </a:lnTo>
                <a:lnTo>
                  <a:pt x="15622" y="1631"/>
                </a:lnTo>
                <a:close/>
                <a:moveTo>
                  <a:pt x="15524" y="12605"/>
                </a:moveTo>
                <a:lnTo>
                  <a:pt x="15549" y="13164"/>
                </a:lnTo>
                <a:lnTo>
                  <a:pt x="15476" y="13164"/>
                </a:lnTo>
                <a:lnTo>
                  <a:pt x="15427" y="13213"/>
                </a:lnTo>
                <a:lnTo>
                  <a:pt x="15305" y="13286"/>
                </a:lnTo>
                <a:lnTo>
                  <a:pt x="15232" y="13432"/>
                </a:lnTo>
                <a:lnTo>
                  <a:pt x="15135" y="13578"/>
                </a:lnTo>
                <a:lnTo>
                  <a:pt x="15111" y="13529"/>
                </a:lnTo>
                <a:lnTo>
                  <a:pt x="15257" y="13213"/>
                </a:lnTo>
                <a:lnTo>
                  <a:pt x="15403" y="12872"/>
                </a:lnTo>
                <a:lnTo>
                  <a:pt x="15524" y="12605"/>
                </a:lnTo>
                <a:close/>
                <a:moveTo>
                  <a:pt x="15549" y="13359"/>
                </a:moveTo>
                <a:lnTo>
                  <a:pt x="15573" y="13943"/>
                </a:lnTo>
                <a:lnTo>
                  <a:pt x="15354" y="13748"/>
                </a:lnTo>
                <a:lnTo>
                  <a:pt x="15451" y="13553"/>
                </a:lnTo>
                <a:lnTo>
                  <a:pt x="15549" y="13359"/>
                </a:lnTo>
                <a:close/>
                <a:moveTo>
                  <a:pt x="16692" y="463"/>
                </a:moveTo>
                <a:lnTo>
                  <a:pt x="16789" y="487"/>
                </a:lnTo>
                <a:lnTo>
                  <a:pt x="16862" y="536"/>
                </a:lnTo>
                <a:lnTo>
                  <a:pt x="16935" y="633"/>
                </a:lnTo>
                <a:lnTo>
                  <a:pt x="16984" y="730"/>
                </a:lnTo>
                <a:lnTo>
                  <a:pt x="17033" y="852"/>
                </a:lnTo>
                <a:lnTo>
                  <a:pt x="17081" y="1047"/>
                </a:lnTo>
                <a:lnTo>
                  <a:pt x="17130" y="1314"/>
                </a:lnTo>
                <a:lnTo>
                  <a:pt x="17154" y="1582"/>
                </a:lnTo>
                <a:lnTo>
                  <a:pt x="17179" y="2142"/>
                </a:lnTo>
                <a:lnTo>
                  <a:pt x="17106" y="3237"/>
                </a:lnTo>
                <a:lnTo>
                  <a:pt x="17081" y="4380"/>
                </a:lnTo>
                <a:lnTo>
                  <a:pt x="17081" y="5499"/>
                </a:lnTo>
                <a:lnTo>
                  <a:pt x="17154" y="7738"/>
                </a:lnTo>
                <a:lnTo>
                  <a:pt x="17203" y="9928"/>
                </a:lnTo>
                <a:lnTo>
                  <a:pt x="17203" y="12094"/>
                </a:lnTo>
                <a:lnTo>
                  <a:pt x="17179" y="13213"/>
                </a:lnTo>
                <a:lnTo>
                  <a:pt x="17130" y="13748"/>
                </a:lnTo>
                <a:lnTo>
                  <a:pt x="17081" y="14283"/>
                </a:lnTo>
                <a:lnTo>
                  <a:pt x="17033" y="14502"/>
                </a:lnTo>
                <a:lnTo>
                  <a:pt x="16984" y="14746"/>
                </a:lnTo>
                <a:lnTo>
                  <a:pt x="16935" y="14867"/>
                </a:lnTo>
                <a:lnTo>
                  <a:pt x="16887" y="14965"/>
                </a:lnTo>
                <a:lnTo>
                  <a:pt x="16814" y="15038"/>
                </a:lnTo>
                <a:lnTo>
                  <a:pt x="16716" y="15111"/>
                </a:lnTo>
                <a:lnTo>
                  <a:pt x="16643" y="15111"/>
                </a:lnTo>
                <a:lnTo>
                  <a:pt x="16570" y="15086"/>
                </a:lnTo>
                <a:lnTo>
                  <a:pt x="16449" y="15038"/>
                </a:lnTo>
                <a:lnTo>
                  <a:pt x="16327" y="14916"/>
                </a:lnTo>
                <a:lnTo>
                  <a:pt x="16205" y="14794"/>
                </a:lnTo>
                <a:lnTo>
                  <a:pt x="16205" y="13991"/>
                </a:lnTo>
                <a:lnTo>
                  <a:pt x="16181" y="13188"/>
                </a:lnTo>
                <a:lnTo>
                  <a:pt x="16132" y="12361"/>
                </a:lnTo>
                <a:lnTo>
                  <a:pt x="16132" y="11558"/>
                </a:lnTo>
                <a:lnTo>
                  <a:pt x="16132" y="9636"/>
                </a:lnTo>
                <a:lnTo>
                  <a:pt x="16132" y="7714"/>
                </a:lnTo>
                <a:lnTo>
                  <a:pt x="16132" y="6789"/>
                </a:lnTo>
                <a:lnTo>
                  <a:pt x="16132" y="6327"/>
                </a:lnTo>
                <a:lnTo>
                  <a:pt x="16132" y="5864"/>
                </a:lnTo>
                <a:lnTo>
                  <a:pt x="16205" y="4988"/>
                </a:lnTo>
                <a:lnTo>
                  <a:pt x="16230" y="4551"/>
                </a:lnTo>
                <a:lnTo>
                  <a:pt x="16205" y="4113"/>
                </a:lnTo>
                <a:lnTo>
                  <a:pt x="16181" y="3237"/>
                </a:lnTo>
                <a:lnTo>
                  <a:pt x="16157" y="2799"/>
                </a:lnTo>
                <a:lnTo>
                  <a:pt x="16181" y="2361"/>
                </a:lnTo>
                <a:lnTo>
                  <a:pt x="16205" y="1558"/>
                </a:lnTo>
                <a:lnTo>
                  <a:pt x="16181" y="1144"/>
                </a:lnTo>
                <a:lnTo>
                  <a:pt x="16181" y="755"/>
                </a:lnTo>
                <a:lnTo>
                  <a:pt x="16254" y="657"/>
                </a:lnTo>
                <a:lnTo>
                  <a:pt x="16351" y="584"/>
                </a:lnTo>
                <a:lnTo>
                  <a:pt x="16570" y="487"/>
                </a:lnTo>
                <a:lnTo>
                  <a:pt x="16692" y="463"/>
                </a:lnTo>
                <a:close/>
                <a:moveTo>
                  <a:pt x="5597" y="10950"/>
                </a:moveTo>
                <a:lnTo>
                  <a:pt x="5597" y="11023"/>
                </a:lnTo>
                <a:lnTo>
                  <a:pt x="5621" y="11096"/>
                </a:lnTo>
                <a:lnTo>
                  <a:pt x="5694" y="11218"/>
                </a:lnTo>
                <a:lnTo>
                  <a:pt x="5743" y="11364"/>
                </a:lnTo>
                <a:lnTo>
                  <a:pt x="5767" y="11704"/>
                </a:lnTo>
                <a:lnTo>
                  <a:pt x="5791" y="12045"/>
                </a:lnTo>
                <a:lnTo>
                  <a:pt x="5816" y="12215"/>
                </a:lnTo>
                <a:lnTo>
                  <a:pt x="5840" y="12361"/>
                </a:lnTo>
                <a:lnTo>
                  <a:pt x="5864" y="12483"/>
                </a:lnTo>
                <a:lnTo>
                  <a:pt x="5548" y="12459"/>
                </a:lnTo>
                <a:lnTo>
                  <a:pt x="5207" y="12483"/>
                </a:lnTo>
                <a:lnTo>
                  <a:pt x="4988" y="12507"/>
                </a:lnTo>
                <a:lnTo>
                  <a:pt x="4745" y="12532"/>
                </a:lnTo>
                <a:lnTo>
                  <a:pt x="4502" y="12605"/>
                </a:lnTo>
                <a:lnTo>
                  <a:pt x="4404" y="12653"/>
                </a:lnTo>
                <a:lnTo>
                  <a:pt x="4307" y="12702"/>
                </a:lnTo>
                <a:lnTo>
                  <a:pt x="4258" y="12775"/>
                </a:lnTo>
                <a:lnTo>
                  <a:pt x="4210" y="12848"/>
                </a:lnTo>
                <a:lnTo>
                  <a:pt x="4210" y="12945"/>
                </a:lnTo>
                <a:lnTo>
                  <a:pt x="4258" y="13018"/>
                </a:lnTo>
                <a:lnTo>
                  <a:pt x="4356" y="13067"/>
                </a:lnTo>
                <a:lnTo>
                  <a:pt x="4453" y="13115"/>
                </a:lnTo>
                <a:lnTo>
                  <a:pt x="4623" y="13164"/>
                </a:lnTo>
                <a:lnTo>
                  <a:pt x="4842" y="13188"/>
                </a:lnTo>
                <a:lnTo>
                  <a:pt x="5037" y="13188"/>
                </a:lnTo>
                <a:lnTo>
                  <a:pt x="5475" y="13140"/>
                </a:lnTo>
                <a:lnTo>
                  <a:pt x="5670" y="13140"/>
                </a:lnTo>
                <a:lnTo>
                  <a:pt x="5864" y="13188"/>
                </a:lnTo>
                <a:lnTo>
                  <a:pt x="6035" y="13188"/>
                </a:lnTo>
                <a:lnTo>
                  <a:pt x="6205" y="13967"/>
                </a:lnTo>
                <a:lnTo>
                  <a:pt x="5572" y="13991"/>
                </a:lnTo>
                <a:lnTo>
                  <a:pt x="5183" y="13991"/>
                </a:lnTo>
                <a:lnTo>
                  <a:pt x="4988" y="14040"/>
                </a:lnTo>
                <a:lnTo>
                  <a:pt x="4891" y="14064"/>
                </a:lnTo>
                <a:lnTo>
                  <a:pt x="4794" y="14113"/>
                </a:lnTo>
                <a:lnTo>
                  <a:pt x="4745" y="14186"/>
                </a:lnTo>
                <a:lnTo>
                  <a:pt x="4696" y="14283"/>
                </a:lnTo>
                <a:lnTo>
                  <a:pt x="4696" y="14381"/>
                </a:lnTo>
                <a:lnTo>
                  <a:pt x="4721" y="14429"/>
                </a:lnTo>
                <a:lnTo>
                  <a:pt x="4769" y="14454"/>
                </a:lnTo>
                <a:lnTo>
                  <a:pt x="4915" y="14575"/>
                </a:lnTo>
                <a:lnTo>
                  <a:pt x="5110" y="14624"/>
                </a:lnTo>
                <a:lnTo>
                  <a:pt x="5305" y="14673"/>
                </a:lnTo>
                <a:lnTo>
                  <a:pt x="5499" y="14697"/>
                </a:lnTo>
                <a:lnTo>
                  <a:pt x="6327" y="14697"/>
                </a:lnTo>
                <a:lnTo>
                  <a:pt x="6473" y="15378"/>
                </a:lnTo>
                <a:lnTo>
                  <a:pt x="6010" y="15403"/>
                </a:lnTo>
                <a:lnTo>
                  <a:pt x="5645" y="15403"/>
                </a:lnTo>
                <a:lnTo>
                  <a:pt x="5475" y="15427"/>
                </a:lnTo>
                <a:lnTo>
                  <a:pt x="5305" y="15500"/>
                </a:lnTo>
                <a:lnTo>
                  <a:pt x="5256" y="15549"/>
                </a:lnTo>
                <a:lnTo>
                  <a:pt x="5207" y="15597"/>
                </a:lnTo>
                <a:lnTo>
                  <a:pt x="5183" y="15670"/>
                </a:lnTo>
                <a:lnTo>
                  <a:pt x="5183" y="15743"/>
                </a:lnTo>
                <a:lnTo>
                  <a:pt x="5183" y="15816"/>
                </a:lnTo>
                <a:lnTo>
                  <a:pt x="5207" y="15889"/>
                </a:lnTo>
                <a:lnTo>
                  <a:pt x="5256" y="15938"/>
                </a:lnTo>
                <a:lnTo>
                  <a:pt x="5305" y="15987"/>
                </a:lnTo>
                <a:lnTo>
                  <a:pt x="5475" y="16035"/>
                </a:lnTo>
                <a:lnTo>
                  <a:pt x="5645" y="16060"/>
                </a:lnTo>
                <a:lnTo>
                  <a:pt x="6010" y="16084"/>
                </a:lnTo>
                <a:lnTo>
                  <a:pt x="6278" y="16108"/>
                </a:lnTo>
                <a:lnTo>
                  <a:pt x="6448" y="16108"/>
                </a:lnTo>
                <a:lnTo>
                  <a:pt x="6570" y="16084"/>
                </a:lnTo>
                <a:lnTo>
                  <a:pt x="6619" y="16400"/>
                </a:lnTo>
                <a:lnTo>
                  <a:pt x="6643" y="16692"/>
                </a:lnTo>
                <a:lnTo>
                  <a:pt x="6619" y="16838"/>
                </a:lnTo>
                <a:lnTo>
                  <a:pt x="6594" y="16960"/>
                </a:lnTo>
                <a:lnTo>
                  <a:pt x="6521" y="17057"/>
                </a:lnTo>
                <a:lnTo>
                  <a:pt x="6424" y="17130"/>
                </a:lnTo>
                <a:lnTo>
                  <a:pt x="6327" y="17179"/>
                </a:lnTo>
                <a:lnTo>
                  <a:pt x="6205" y="17228"/>
                </a:lnTo>
                <a:lnTo>
                  <a:pt x="5913" y="17252"/>
                </a:lnTo>
                <a:lnTo>
                  <a:pt x="5597" y="17228"/>
                </a:lnTo>
                <a:lnTo>
                  <a:pt x="5305" y="17203"/>
                </a:lnTo>
                <a:lnTo>
                  <a:pt x="4794" y="17130"/>
                </a:lnTo>
                <a:lnTo>
                  <a:pt x="4575" y="17155"/>
                </a:lnTo>
                <a:lnTo>
                  <a:pt x="4307" y="17179"/>
                </a:lnTo>
                <a:lnTo>
                  <a:pt x="4064" y="17203"/>
                </a:lnTo>
                <a:lnTo>
                  <a:pt x="3796" y="17228"/>
                </a:lnTo>
                <a:lnTo>
                  <a:pt x="3553" y="17228"/>
                </a:lnTo>
                <a:lnTo>
                  <a:pt x="3455" y="17203"/>
                </a:lnTo>
                <a:lnTo>
                  <a:pt x="3358" y="17155"/>
                </a:lnTo>
                <a:lnTo>
                  <a:pt x="3261" y="17106"/>
                </a:lnTo>
                <a:lnTo>
                  <a:pt x="3163" y="17033"/>
                </a:lnTo>
                <a:lnTo>
                  <a:pt x="3115" y="16936"/>
                </a:lnTo>
                <a:lnTo>
                  <a:pt x="3042" y="16790"/>
                </a:lnTo>
                <a:lnTo>
                  <a:pt x="2969" y="16571"/>
                </a:lnTo>
                <a:lnTo>
                  <a:pt x="2920" y="16327"/>
                </a:lnTo>
                <a:lnTo>
                  <a:pt x="2847" y="15816"/>
                </a:lnTo>
                <a:lnTo>
                  <a:pt x="2750" y="14819"/>
                </a:lnTo>
                <a:lnTo>
                  <a:pt x="2725" y="14308"/>
                </a:lnTo>
                <a:lnTo>
                  <a:pt x="2677" y="13797"/>
                </a:lnTo>
                <a:lnTo>
                  <a:pt x="2652" y="13286"/>
                </a:lnTo>
                <a:lnTo>
                  <a:pt x="2628" y="12775"/>
                </a:lnTo>
                <a:lnTo>
                  <a:pt x="2506" y="11923"/>
                </a:lnTo>
                <a:lnTo>
                  <a:pt x="2385" y="11047"/>
                </a:lnTo>
                <a:lnTo>
                  <a:pt x="2385" y="11047"/>
                </a:lnTo>
                <a:lnTo>
                  <a:pt x="2823" y="11072"/>
                </a:lnTo>
                <a:lnTo>
                  <a:pt x="3090" y="11072"/>
                </a:lnTo>
                <a:lnTo>
                  <a:pt x="3358" y="11047"/>
                </a:lnTo>
                <a:lnTo>
                  <a:pt x="3407" y="11047"/>
                </a:lnTo>
                <a:lnTo>
                  <a:pt x="3504" y="11023"/>
                </a:lnTo>
                <a:lnTo>
                  <a:pt x="4064" y="10974"/>
                </a:lnTo>
                <a:lnTo>
                  <a:pt x="4331" y="10974"/>
                </a:lnTo>
                <a:lnTo>
                  <a:pt x="4599" y="10999"/>
                </a:lnTo>
                <a:lnTo>
                  <a:pt x="4623" y="11023"/>
                </a:lnTo>
                <a:lnTo>
                  <a:pt x="4672" y="11072"/>
                </a:lnTo>
                <a:lnTo>
                  <a:pt x="4745" y="11096"/>
                </a:lnTo>
                <a:lnTo>
                  <a:pt x="4818" y="11072"/>
                </a:lnTo>
                <a:lnTo>
                  <a:pt x="4867" y="11023"/>
                </a:lnTo>
                <a:lnTo>
                  <a:pt x="4891" y="10974"/>
                </a:lnTo>
                <a:lnTo>
                  <a:pt x="5597" y="10950"/>
                </a:lnTo>
                <a:close/>
                <a:moveTo>
                  <a:pt x="16546" y="0"/>
                </a:moveTo>
                <a:lnTo>
                  <a:pt x="16400" y="49"/>
                </a:lnTo>
                <a:lnTo>
                  <a:pt x="16278" y="122"/>
                </a:lnTo>
                <a:lnTo>
                  <a:pt x="16157" y="195"/>
                </a:lnTo>
                <a:lnTo>
                  <a:pt x="16035" y="292"/>
                </a:lnTo>
                <a:lnTo>
                  <a:pt x="15962" y="414"/>
                </a:lnTo>
                <a:lnTo>
                  <a:pt x="15889" y="414"/>
                </a:lnTo>
                <a:lnTo>
                  <a:pt x="15840" y="438"/>
                </a:lnTo>
                <a:lnTo>
                  <a:pt x="15792" y="487"/>
                </a:lnTo>
                <a:lnTo>
                  <a:pt x="15768" y="560"/>
                </a:lnTo>
                <a:lnTo>
                  <a:pt x="15695" y="803"/>
                </a:lnTo>
                <a:lnTo>
                  <a:pt x="15670" y="1071"/>
                </a:lnTo>
                <a:lnTo>
                  <a:pt x="15597" y="1047"/>
                </a:lnTo>
                <a:lnTo>
                  <a:pt x="15524" y="1071"/>
                </a:lnTo>
                <a:lnTo>
                  <a:pt x="15451" y="1095"/>
                </a:lnTo>
                <a:lnTo>
                  <a:pt x="15403" y="1168"/>
                </a:lnTo>
                <a:lnTo>
                  <a:pt x="15354" y="1266"/>
                </a:lnTo>
                <a:lnTo>
                  <a:pt x="15281" y="1339"/>
                </a:lnTo>
                <a:lnTo>
                  <a:pt x="15111" y="1485"/>
                </a:lnTo>
                <a:lnTo>
                  <a:pt x="14770" y="1728"/>
                </a:lnTo>
                <a:lnTo>
                  <a:pt x="14283" y="2093"/>
                </a:lnTo>
                <a:lnTo>
                  <a:pt x="14040" y="2288"/>
                </a:lnTo>
                <a:lnTo>
                  <a:pt x="13772" y="2434"/>
                </a:lnTo>
                <a:lnTo>
                  <a:pt x="13018" y="2847"/>
                </a:lnTo>
                <a:lnTo>
                  <a:pt x="12264" y="3237"/>
                </a:lnTo>
                <a:lnTo>
                  <a:pt x="11485" y="3577"/>
                </a:lnTo>
                <a:lnTo>
                  <a:pt x="11071" y="3723"/>
                </a:lnTo>
                <a:lnTo>
                  <a:pt x="10682" y="3869"/>
                </a:lnTo>
                <a:lnTo>
                  <a:pt x="9830" y="4137"/>
                </a:lnTo>
                <a:lnTo>
                  <a:pt x="8979" y="4356"/>
                </a:lnTo>
                <a:lnTo>
                  <a:pt x="8103" y="4526"/>
                </a:lnTo>
                <a:lnTo>
                  <a:pt x="7665" y="4575"/>
                </a:lnTo>
                <a:lnTo>
                  <a:pt x="7227" y="4624"/>
                </a:lnTo>
                <a:lnTo>
                  <a:pt x="6570" y="4672"/>
                </a:lnTo>
                <a:lnTo>
                  <a:pt x="5913" y="4697"/>
                </a:lnTo>
                <a:lnTo>
                  <a:pt x="5256" y="4721"/>
                </a:lnTo>
                <a:lnTo>
                  <a:pt x="4623" y="4745"/>
                </a:lnTo>
                <a:lnTo>
                  <a:pt x="4429" y="4697"/>
                </a:lnTo>
                <a:lnTo>
                  <a:pt x="4234" y="4672"/>
                </a:lnTo>
                <a:lnTo>
                  <a:pt x="3869" y="4624"/>
                </a:lnTo>
                <a:lnTo>
                  <a:pt x="3480" y="4648"/>
                </a:lnTo>
                <a:lnTo>
                  <a:pt x="3090" y="4648"/>
                </a:lnTo>
                <a:lnTo>
                  <a:pt x="2652" y="4672"/>
                </a:lnTo>
                <a:lnTo>
                  <a:pt x="2214" y="4721"/>
                </a:lnTo>
                <a:lnTo>
                  <a:pt x="1995" y="4770"/>
                </a:lnTo>
                <a:lnTo>
                  <a:pt x="1801" y="4818"/>
                </a:lnTo>
                <a:lnTo>
                  <a:pt x="1582" y="4916"/>
                </a:lnTo>
                <a:lnTo>
                  <a:pt x="1387" y="5013"/>
                </a:lnTo>
                <a:lnTo>
                  <a:pt x="1192" y="5110"/>
                </a:lnTo>
                <a:lnTo>
                  <a:pt x="1046" y="5232"/>
                </a:lnTo>
                <a:lnTo>
                  <a:pt x="876" y="5378"/>
                </a:lnTo>
                <a:lnTo>
                  <a:pt x="754" y="5524"/>
                </a:lnTo>
                <a:lnTo>
                  <a:pt x="633" y="5670"/>
                </a:lnTo>
                <a:lnTo>
                  <a:pt x="535" y="5840"/>
                </a:lnTo>
                <a:lnTo>
                  <a:pt x="365" y="6205"/>
                </a:lnTo>
                <a:lnTo>
                  <a:pt x="243" y="6570"/>
                </a:lnTo>
                <a:lnTo>
                  <a:pt x="146" y="6959"/>
                </a:lnTo>
                <a:lnTo>
                  <a:pt x="73" y="7373"/>
                </a:lnTo>
                <a:lnTo>
                  <a:pt x="49" y="7762"/>
                </a:lnTo>
                <a:lnTo>
                  <a:pt x="0" y="8200"/>
                </a:lnTo>
                <a:lnTo>
                  <a:pt x="0" y="8614"/>
                </a:lnTo>
                <a:lnTo>
                  <a:pt x="49" y="9028"/>
                </a:lnTo>
                <a:lnTo>
                  <a:pt x="146" y="9417"/>
                </a:lnTo>
                <a:lnTo>
                  <a:pt x="195" y="9612"/>
                </a:lnTo>
                <a:lnTo>
                  <a:pt x="292" y="9806"/>
                </a:lnTo>
                <a:lnTo>
                  <a:pt x="389" y="9977"/>
                </a:lnTo>
                <a:lnTo>
                  <a:pt x="487" y="10147"/>
                </a:lnTo>
                <a:lnTo>
                  <a:pt x="633" y="10293"/>
                </a:lnTo>
                <a:lnTo>
                  <a:pt x="779" y="10439"/>
                </a:lnTo>
                <a:lnTo>
                  <a:pt x="949" y="10585"/>
                </a:lnTo>
                <a:lnTo>
                  <a:pt x="1144" y="10707"/>
                </a:lnTo>
                <a:lnTo>
                  <a:pt x="1363" y="10804"/>
                </a:lnTo>
                <a:lnTo>
                  <a:pt x="1582" y="10901"/>
                </a:lnTo>
                <a:lnTo>
                  <a:pt x="1825" y="10950"/>
                </a:lnTo>
                <a:lnTo>
                  <a:pt x="2068" y="10999"/>
                </a:lnTo>
                <a:lnTo>
                  <a:pt x="2044" y="11242"/>
                </a:lnTo>
                <a:lnTo>
                  <a:pt x="2020" y="11510"/>
                </a:lnTo>
                <a:lnTo>
                  <a:pt x="2044" y="11777"/>
                </a:lnTo>
                <a:lnTo>
                  <a:pt x="2068" y="12021"/>
                </a:lnTo>
                <a:lnTo>
                  <a:pt x="2166" y="12556"/>
                </a:lnTo>
                <a:lnTo>
                  <a:pt x="2190" y="12824"/>
                </a:lnTo>
                <a:lnTo>
                  <a:pt x="2214" y="13067"/>
                </a:lnTo>
                <a:lnTo>
                  <a:pt x="2287" y="14478"/>
                </a:lnTo>
                <a:lnTo>
                  <a:pt x="2336" y="15184"/>
                </a:lnTo>
                <a:lnTo>
                  <a:pt x="2409" y="15914"/>
                </a:lnTo>
                <a:lnTo>
                  <a:pt x="2458" y="16327"/>
                </a:lnTo>
                <a:lnTo>
                  <a:pt x="2506" y="16741"/>
                </a:lnTo>
                <a:lnTo>
                  <a:pt x="2555" y="16960"/>
                </a:lnTo>
                <a:lnTo>
                  <a:pt x="2628" y="17155"/>
                </a:lnTo>
                <a:lnTo>
                  <a:pt x="2725" y="17325"/>
                </a:lnTo>
                <a:lnTo>
                  <a:pt x="2871" y="17495"/>
                </a:lnTo>
                <a:lnTo>
                  <a:pt x="2993" y="17593"/>
                </a:lnTo>
                <a:lnTo>
                  <a:pt x="3090" y="17641"/>
                </a:lnTo>
                <a:lnTo>
                  <a:pt x="3212" y="17714"/>
                </a:lnTo>
                <a:lnTo>
                  <a:pt x="3334" y="17739"/>
                </a:lnTo>
                <a:lnTo>
                  <a:pt x="3601" y="17763"/>
                </a:lnTo>
                <a:lnTo>
                  <a:pt x="3893" y="17763"/>
                </a:lnTo>
                <a:lnTo>
                  <a:pt x="4429" y="17690"/>
                </a:lnTo>
                <a:lnTo>
                  <a:pt x="4696" y="17666"/>
                </a:lnTo>
                <a:lnTo>
                  <a:pt x="4964" y="17666"/>
                </a:lnTo>
                <a:lnTo>
                  <a:pt x="5475" y="17714"/>
                </a:lnTo>
                <a:lnTo>
                  <a:pt x="5743" y="17739"/>
                </a:lnTo>
                <a:lnTo>
                  <a:pt x="6010" y="17763"/>
                </a:lnTo>
                <a:lnTo>
                  <a:pt x="6278" y="17739"/>
                </a:lnTo>
                <a:lnTo>
                  <a:pt x="6521" y="17690"/>
                </a:lnTo>
                <a:lnTo>
                  <a:pt x="6619" y="17641"/>
                </a:lnTo>
                <a:lnTo>
                  <a:pt x="6740" y="17568"/>
                </a:lnTo>
                <a:lnTo>
                  <a:pt x="6838" y="17495"/>
                </a:lnTo>
                <a:lnTo>
                  <a:pt x="6935" y="17398"/>
                </a:lnTo>
                <a:lnTo>
                  <a:pt x="7008" y="17301"/>
                </a:lnTo>
                <a:lnTo>
                  <a:pt x="7057" y="17179"/>
                </a:lnTo>
                <a:lnTo>
                  <a:pt x="7130" y="16960"/>
                </a:lnTo>
                <a:lnTo>
                  <a:pt x="7154" y="16717"/>
                </a:lnTo>
                <a:lnTo>
                  <a:pt x="7154" y="16449"/>
                </a:lnTo>
                <a:lnTo>
                  <a:pt x="7130" y="16181"/>
                </a:lnTo>
                <a:lnTo>
                  <a:pt x="7081" y="15938"/>
                </a:lnTo>
                <a:lnTo>
                  <a:pt x="6984" y="15451"/>
                </a:lnTo>
                <a:lnTo>
                  <a:pt x="6886" y="14770"/>
                </a:lnTo>
                <a:lnTo>
                  <a:pt x="6765" y="14089"/>
                </a:lnTo>
                <a:lnTo>
                  <a:pt x="6497" y="12726"/>
                </a:lnTo>
                <a:lnTo>
                  <a:pt x="6351" y="12167"/>
                </a:lnTo>
                <a:lnTo>
                  <a:pt x="6302" y="11875"/>
                </a:lnTo>
                <a:lnTo>
                  <a:pt x="6254" y="11583"/>
                </a:lnTo>
                <a:lnTo>
                  <a:pt x="6229" y="11291"/>
                </a:lnTo>
                <a:lnTo>
                  <a:pt x="6205" y="11120"/>
                </a:lnTo>
                <a:lnTo>
                  <a:pt x="6181" y="10974"/>
                </a:lnTo>
                <a:lnTo>
                  <a:pt x="6789" y="11096"/>
                </a:lnTo>
                <a:lnTo>
                  <a:pt x="7397" y="11218"/>
                </a:lnTo>
                <a:lnTo>
                  <a:pt x="10341" y="11826"/>
                </a:lnTo>
                <a:lnTo>
                  <a:pt x="10560" y="11875"/>
                </a:lnTo>
                <a:lnTo>
                  <a:pt x="10755" y="11923"/>
                </a:lnTo>
                <a:lnTo>
                  <a:pt x="11169" y="12094"/>
                </a:lnTo>
                <a:lnTo>
                  <a:pt x="11972" y="12459"/>
                </a:lnTo>
                <a:lnTo>
                  <a:pt x="13456" y="13115"/>
                </a:lnTo>
                <a:lnTo>
                  <a:pt x="14040" y="13407"/>
                </a:lnTo>
                <a:lnTo>
                  <a:pt x="14332" y="13553"/>
                </a:lnTo>
                <a:lnTo>
                  <a:pt x="14624" y="13748"/>
                </a:lnTo>
                <a:lnTo>
                  <a:pt x="14892" y="13943"/>
                </a:lnTo>
                <a:lnTo>
                  <a:pt x="15135" y="14162"/>
                </a:lnTo>
                <a:lnTo>
                  <a:pt x="15354" y="14381"/>
                </a:lnTo>
                <a:lnTo>
                  <a:pt x="15549" y="14648"/>
                </a:lnTo>
                <a:lnTo>
                  <a:pt x="15622" y="14721"/>
                </a:lnTo>
                <a:lnTo>
                  <a:pt x="15622" y="14940"/>
                </a:lnTo>
                <a:lnTo>
                  <a:pt x="15646" y="15062"/>
                </a:lnTo>
                <a:lnTo>
                  <a:pt x="15695" y="15159"/>
                </a:lnTo>
                <a:lnTo>
                  <a:pt x="15792" y="15208"/>
                </a:lnTo>
                <a:lnTo>
                  <a:pt x="15889" y="15232"/>
                </a:lnTo>
                <a:lnTo>
                  <a:pt x="16084" y="15427"/>
                </a:lnTo>
                <a:lnTo>
                  <a:pt x="16205" y="15500"/>
                </a:lnTo>
                <a:lnTo>
                  <a:pt x="16303" y="15573"/>
                </a:lnTo>
                <a:lnTo>
                  <a:pt x="16449" y="15622"/>
                </a:lnTo>
                <a:lnTo>
                  <a:pt x="16570" y="15646"/>
                </a:lnTo>
                <a:lnTo>
                  <a:pt x="16716" y="15670"/>
                </a:lnTo>
                <a:lnTo>
                  <a:pt x="16862" y="15646"/>
                </a:lnTo>
                <a:lnTo>
                  <a:pt x="16984" y="15622"/>
                </a:lnTo>
                <a:lnTo>
                  <a:pt x="17081" y="15573"/>
                </a:lnTo>
                <a:lnTo>
                  <a:pt x="17179" y="15500"/>
                </a:lnTo>
                <a:lnTo>
                  <a:pt x="17276" y="15427"/>
                </a:lnTo>
                <a:lnTo>
                  <a:pt x="17349" y="15330"/>
                </a:lnTo>
                <a:lnTo>
                  <a:pt x="17398" y="15232"/>
                </a:lnTo>
                <a:lnTo>
                  <a:pt x="17495" y="14989"/>
                </a:lnTo>
                <a:lnTo>
                  <a:pt x="17568" y="14721"/>
                </a:lnTo>
                <a:lnTo>
                  <a:pt x="17617" y="14478"/>
                </a:lnTo>
                <a:lnTo>
                  <a:pt x="17690" y="14016"/>
                </a:lnTo>
                <a:lnTo>
                  <a:pt x="17714" y="13651"/>
                </a:lnTo>
                <a:lnTo>
                  <a:pt x="17738" y="13261"/>
                </a:lnTo>
                <a:lnTo>
                  <a:pt x="17763" y="12507"/>
                </a:lnTo>
                <a:lnTo>
                  <a:pt x="17714" y="10974"/>
                </a:lnTo>
                <a:lnTo>
                  <a:pt x="17714" y="10123"/>
                </a:lnTo>
                <a:lnTo>
                  <a:pt x="17860" y="10098"/>
                </a:lnTo>
                <a:lnTo>
                  <a:pt x="17982" y="10001"/>
                </a:lnTo>
                <a:lnTo>
                  <a:pt x="18128" y="9904"/>
                </a:lnTo>
                <a:lnTo>
                  <a:pt x="18249" y="9782"/>
                </a:lnTo>
                <a:lnTo>
                  <a:pt x="18493" y="9514"/>
                </a:lnTo>
                <a:lnTo>
                  <a:pt x="18687" y="9271"/>
                </a:lnTo>
                <a:lnTo>
                  <a:pt x="18785" y="9101"/>
                </a:lnTo>
                <a:lnTo>
                  <a:pt x="18858" y="8906"/>
                </a:lnTo>
                <a:lnTo>
                  <a:pt x="18906" y="8711"/>
                </a:lnTo>
                <a:lnTo>
                  <a:pt x="18931" y="8517"/>
                </a:lnTo>
                <a:lnTo>
                  <a:pt x="18955" y="8103"/>
                </a:lnTo>
                <a:lnTo>
                  <a:pt x="18955" y="7714"/>
                </a:lnTo>
                <a:lnTo>
                  <a:pt x="18931" y="7373"/>
                </a:lnTo>
                <a:lnTo>
                  <a:pt x="18858" y="7057"/>
                </a:lnTo>
                <a:lnTo>
                  <a:pt x="18760" y="6740"/>
                </a:lnTo>
                <a:lnTo>
                  <a:pt x="18614" y="6448"/>
                </a:lnTo>
                <a:lnTo>
                  <a:pt x="18541" y="6327"/>
                </a:lnTo>
                <a:lnTo>
                  <a:pt x="18420" y="6205"/>
                </a:lnTo>
                <a:lnTo>
                  <a:pt x="18322" y="6083"/>
                </a:lnTo>
                <a:lnTo>
                  <a:pt x="18201" y="5986"/>
                </a:lnTo>
                <a:lnTo>
                  <a:pt x="18055" y="5889"/>
                </a:lnTo>
                <a:lnTo>
                  <a:pt x="17909" y="5840"/>
                </a:lnTo>
                <a:lnTo>
                  <a:pt x="17763" y="5767"/>
                </a:lnTo>
                <a:lnTo>
                  <a:pt x="17592" y="5743"/>
                </a:lnTo>
                <a:lnTo>
                  <a:pt x="17568" y="4697"/>
                </a:lnTo>
                <a:lnTo>
                  <a:pt x="17592" y="3942"/>
                </a:lnTo>
                <a:lnTo>
                  <a:pt x="17617" y="3164"/>
                </a:lnTo>
                <a:lnTo>
                  <a:pt x="17641" y="2409"/>
                </a:lnTo>
                <a:lnTo>
                  <a:pt x="17641" y="1631"/>
                </a:lnTo>
                <a:lnTo>
                  <a:pt x="17617" y="1193"/>
                </a:lnTo>
                <a:lnTo>
                  <a:pt x="17592" y="949"/>
                </a:lnTo>
                <a:lnTo>
                  <a:pt x="17519" y="730"/>
                </a:lnTo>
                <a:lnTo>
                  <a:pt x="17446" y="511"/>
                </a:lnTo>
                <a:lnTo>
                  <a:pt x="17325" y="317"/>
                </a:lnTo>
                <a:lnTo>
                  <a:pt x="17252" y="219"/>
                </a:lnTo>
                <a:lnTo>
                  <a:pt x="17179" y="146"/>
                </a:lnTo>
                <a:lnTo>
                  <a:pt x="17081" y="98"/>
                </a:lnTo>
                <a:lnTo>
                  <a:pt x="16984" y="49"/>
                </a:lnTo>
                <a:lnTo>
                  <a:pt x="16838" y="0"/>
                </a:lnTo>
                <a:close/>
              </a:path>
            </a:pathLst>
          </a:custGeom>
          <a:solidFill>
            <a:schemeClr val="accent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4" name="TextBox 43">
            <a:extLst>
              <a:ext uri="{FF2B5EF4-FFF2-40B4-BE49-F238E27FC236}">
                <a16:creationId xmlns:a16="http://schemas.microsoft.com/office/drawing/2014/main" id="{0FA5DCDE-FE23-92D6-9311-2ABA671E7E2C}"/>
              </a:ext>
            </a:extLst>
          </p:cNvPr>
          <p:cNvSpPr txBox="1"/>
          <p:nvPr/>
        </p:nvSpPr>
        <p:spPr bwMode="auto">
          <a:xfrm>
            <a:off x="1118841" y="205672"/>
            <a:ext cx="1706238"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spc="0">
                <a:latin typeface="Quicksand" panose="020B0604020202020204"/>
              </a:rPr>
              <a:t>WHAT…?</a:t>
            </a:r>
          </a:p>
        </p:txBody>
      </p:sp>
      <p:sp>
        <p:nvSpPr>
          <p:cNvPr id="45" name="Rectangle 44">
            <a:extLst>
              <a:ext uri="{FF2B5EF4-FFF2-40B4-BE49-F238E27FC236}">
                <a16:creationId xmlns:a16="http://schemas.microsoft.com/office/drawing/2014/main" id="{8A65C995-1126-C590-E107-54044F316B81}"/>
              </a:ext>
            </a:extLst>
          </p:cNvPr>
          <p:cNvSpPr/>
          <p:nvPr/>
        </p:nvSpPr>
        <p:spPr>
          <a:xfrm>
            <a:off x="7105270" y="205672"/>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46" name="TextBox 45">
            <a:extLst>
              <a:ext uri="{FF2B5EF4-FFF2-40B4-BE49-F238E27FC236}">
                <a16:creationId xmlns:a16="http://schemas.microsoft.com/office/drawing/2014/main" id="{2880721F-AAB8-C37B-2B3A-E2F6E43C44DE}"/>
              </a:ext>
            </a:extLst>
          </p:cNvPr>
          <p:cNvSpPr txBox="1"/>
          <p:nvPr/>
        </p:nvSpPr>
        <p:spPr bwMode="auto">
          <a:xfrm>
            <a:off x="7793589" y="724349"/>
            <a:ext cx="1991421"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rPr>
              <a:t>Hvilke idéer får jeg?</a:t>
            </a:r>
          </a:p>
        </p:txBody>
      </p:sp>
      <p:sp>
        <p:nvSpPr>
          <p:cNvPr id="48" name="TextBox 47">
            <a:extLst>
              <a:ext uri="{FF2B5EF4-FFF2-40B4-BE49-F238E27FC236}">
                <a16:creationId xmlns:a16="http://schemas.microsoft.com/office/drawing/2014/main" id="{EB80DBB0-0D19-3C21-C3E6-499A5980BF71}"/>
              </a:ext>
            </a:extLst>
          </p:cNvPr>
          <p:cNvSpPr txBox="1"/>
          <p:nvPr/>
        </p:nvSpPr>
        <p:spPr bwMode="auto">
          <a:xfrm>
            <a:off x="7791675" y="198581"/>
            <a:ext cx="1141090"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spc="0">
                <a:latin typeface="Quicksand" panose="020B0604020202020204"/>
              </a:rPr>
              <a:t>AHA!</a:t>
            </a:r>
          </a:p>
        </p:txBody>
      </p:sp>
      <p:sp>
        <p:nvSpPr>
          <p:cNvPr id="50" name="Shape 327">
            <a:extLst>
              <a:ext uri="{FF2B5EF4-FFF2-40B4-BE49-F238E27FC236}">
                <a16:creationId xmlns:a16="http://schemas.microsoft.com/office/drawing/2014/main" id="{1C361387-DF03-AD42-3C23-36D7B116CBCF}"/>
              </a:ext>
            </a:extLst>
          </p:cNvPr>
          <p:cNvSpPr>
            <a:spLocks noChangeAspect="1"/>
          </p:cNvSpPr>
          <p:nvPr/>
        </p:nvSpPr>
        <p:spPr>
          <a:xfrm>
            <a:off x="7183149" y="212763"/>
            <a:ext cx="530647" cy="572351"/>
          </a:xfrm>
          <a:custGeom>
            <a:avLst/>
            <a:gdLst/>
            <a:ahLst/>
            <a:cxnLst/>
            <a:rect l="0" t="0" r="0" b="0"/>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rgbClr val="FFC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2" name="Rectangle 51">
            <a:extLst>
              <a:ext uri="{FF2B5EF4-FFF2-40B4-BE49-F238E27FC236}">
                <a16:creationId xmlns:a16="http://schemas.microsoft.com/office/drawing/2014/main" id="{EB399DBE-0F83-8990-96D3-F78BB6ED7AE5}"/>
              </a:ext>
            </a:extLst>
          </p:cNvPr>
          <p:cNvSpPr/>
          <p:nvPr/>
        </p:nvSpPr>
        <p:spPr>
          <a:xfrm>
            <a:off x="7782839" y="3199962"/>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53" name="TextBox 52">
            <a:extLst>
              <a:ext uri="{FF2B5EF4-FFF2-40B4-BE49-F238E27FC236}">
                <a16:creationId xmlns:a16="http://schemas.microsoft.com/office/drawing/2014/main" id="{2F4D9977-F5EB-81C4-D8CB-DD3E20AFBAC8}"/>
              </a:ext>
            </a:extLst>
          </p:cNvPr>
          <p:cNvSpPr txBox="1"/>
          <p:nvPr/>
        </p:nvSpPr>
        <p:spPr bwMode="auto">
          <a:xfrm>
            <a:off x="8304365" y="3716096"/>
            <a:ext cx="1921203"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da-DK" sz="1400" dirty="0">
                <a:latin typeface="Quicksand" panose="020B0604020202020204"/>
                <a:ea typeface="Verdana" pitchFamily="34" charset="0"/>
                <a:cs typeface="Verdana" pitchFamily="34" charset="0"/>
              </a:rPr>
              <a:t>Hvad tager jeg med mig?</a:t>
            </a:r>
            <a:endPar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endParaRPr>
          </a:p>
        </p:txBody>
      </p:sp>
      <p:sp>
        <p:nvSpPr>
          <p:cNvPr id="54" name="TextBox 53">
            <a:extLst>
              <a:ext uri="{FF2B5EF4-FFF2-40B4-BE49-F238E27FC236}">
                <a16:creationId xmlns:a16="http://schemas.microsoft.com/office/drawing/2014/main" id="{0CA0BE43-5762-AAD9-DAF7-CC545E857A31}"/>
              </a:ext>
            </a:extLst>
          </p:cNvPr>
          <p:cNvSpPr txBox="1"/>
          <p:nvPr/>
        </p:nvSpPr>
        <p:spPr bwMode="auto">
          <a:xfrm>
            <a:off x="8313773" y="3251467"/>
            <a:ext cx="1469323"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spc="0">
                <a:latin typeface="Quicksand" panose="020B0604020202020204"/>
              </a:rPr>
              <a:t>JA TAK!</a:t>
            </a:r>
          </a:p>
        </p:txBody>
      </p:sp>
      <p:sp>
        <p:nvSpPr>
          <p:cNvPr id="56" name="Shape 302">
            <a:extLst>
              <a:ext uri="{FF2B5EF4-FFF2-40B4-BE49-F238E27FC236}">
                <a16:creationId xmlns:a16="http://schemas.microsoft.com/office/drawing/2014/main" id="{E74CEFDD-6682-C64A-3598-85B650FEADF5}"/>
              </a:ext>
            </a:extLst>
          </p:cNvPr>
          <p:cNvSpPr>
            <a:spLocks noChangeAspect="1"/>
          </p:cNvSpPr>
          <p:nvPr/>
        </p:nvSpPr>
        <p:spPr>
          <a:xfrm>
            <a:off x="7709132" y="3260261"/>
            <a:ext cx="521526" cy="428455"/>
          </a:xfrm>
          <a:custGeom>
            <a:avLst/>
            <a:gdLst/>
            <a:ahLst/>
            <a:cxnLst/>
            <a:rect l="0" t="0" r="0" b="0"/>
            <a:pathLst>
              <a:path w="17228" h="15233" extrusionOk="0">
                <a:moveTo>
                  <a:pt x="3918" y="535"/>
                </a:moveTo>
                <a:lnTo>
                  <a:pt x="4380" y="584"/>
                </a:lnTo>
                <a:lnTo>
                  <a:pt x="4842" y="657"/>
                </a:lnTo>
                <a:lnTo>
                  <a:pt x="5280" y="779"/>
                </a:lnTo>
                <a:lnTo>
                  <a:pt x="5767" y="973"/>
                </a:lnTo>
                <a:lnTo>
                  <a:pt x="6253" y="1192"/>
                </a:lnTo>
                <a:lnTo>
                  <a:pt x="6716" y="1436"/>
                </a:lnTo>
                <a:lnTo>
                  <a:pt x="7154" y="1728"/>
                </a:lnTo>
                <a:lnTo>
                  <a:pt x="7446" y="1898"/>
                </a:lnTo>
                <a:lnTo>
                  <a:pt x="7762" y="2117"/>
                </a:lnTo>
                <a:lnTo>
                  <a:pt x="7908" y="2239"/>
                </a:lnTo>
                <a:lnTo>
                  <a:pt x="8054" y="2385"/>
                </a:lnTo>
                <a:lnTo>
                  <a:pt x="8200" y="2531"/>
                </a:lnTo>
                <a:lnTo>
                  <a:pt x="8297" y="2677"/>
                </a:lnTo>
                <a:lnTo>
                  <a:pt x="8297" y="2774"/>
                </a:lnTo>
                <a:lnTo>
                  <a:pt x="8297" y="2847"/>
                </a:lnTo>
                <a:lnTo>
                  <a:pt x="8346" y="2920"/>
                </a:lnTo>
                <a:lnTo>
                  <a:pt x="8395" y="2993"/>
                </a:lnTo>
                <a:lnTo>
                  <a:pt x="8395" y="3115"/>
                </a:lnTo>
                <a:lnTo>
                  <a:pt x="8419" y="3188"/>
                </a:lnTo>
                <a:lnTo>
                  <a:pt x="8468" y="3212"/>
                </a:lnTo>
                <a:lnTo>
                  <a:pt x="8541" y="3212"/>
                </a:lnTo>
                <a:lnTo>
                  <a:pt x="8589" y="3188"/>
                </a:lnTo>
                <a:lnTo>
                  <a:pt x="8711" y="3066"/>
                </a:lnTo>
                <a:lnTo>
                  <a:pt x="8784" y="2920"/>
                </a:lnTo>
                <a:lnTo>
                  <a:pt x="8833" y="2774"/>
                </a:lnTo>
                <a:lnTo>
                  <a:pt x="8808" y="2628"/>
                </a:lnTo>
                <a:lnTo>
                  <a:pt x="8930" y="2482"/>
                </a:lnTo>
                <a:lnTo>
                  <a:pt x="9076" y="2360"/>
                </a:lnTo>
                <a:lnTo>
                  <a:pt x="9441" y="2093"/>
                </a:lnTo>
                <a:lnTo>
                  <a:pt x="10001" y="1728"/>
                </a:lnTo>
                <a:lnTo>
                  <a:pt x="10439" y="1460"/>
                </a:lnTo>
                <a:lnTo>
                  <a:pt x="10925" y="1192"/>
                </a:lnTo>
                <a:lnTo>
                  <a:pt x="11412" y="949"/>
                </a:lnTo>
                <a:lnTo>
                  <a:pt x="11899" y="754"/>
                </a:lnTo>
                <a:lnTo>
                  <a:pt x="12045" y="681"/>
                </a:lnTo>
                <a:lnTo>
                  <a:pt x="12215" y="657"/>
                </a:lnTo>
                <a:lnTo>
                  <a:pt x="12580" y="608"/>
                </a:lnTo>
                <a:lnTo>
                  <a:pt x="12945" y="633"/>
                </a:lnTo>
                <a:lnTo>
                  <a:pt x="13286" y="633"/>
                </a:lnTo>
                <a:lnTo>
                  <a:pt x="13626" y="657"/>
                </a:lnTo>
                <a:lnTo>
                  <a:pt x="13967" y="730"/>
                </a:lnTo>
                <a:lnTo>
                  <a:pt x="14283" y="803"/>
                </a:lnTo>
                <a:lnTo>
                  <a:pt x="14599" y="925"/>
                </a:lnTo>
                <a:lnTo>
                  <a:pt x="14551" y="998"/>
                </a:lnTo>
                <a:lnTo>
                  <a:pt x="14526" y="1095"/>
                </a:lnTo>
                <a:lnTo>
                  <a:pt x="14551" y="1144"/>
                </a:lnTo>
                <a:lnTo>
                  <a:pt x="14575" y="1192"/>
                </a:lnTo>
                <a:lnTo>
                  <a:pt x="14624" y="1217"/>
                </a:lnTo>
                <a:lnTo>
                  <a:pt x="14672" y="1217"/>
                </a:lnTo>
                <a:lnTo>
                  <a:pt x="14770" y="1168"/>
                </a:lnTo>
                <a:lnTo>
                  <a:pt x="14867" y="1119"/>
                </a:lnTo>
                <a:lnTo>
                  <a:pt x="14964" y="1095"/>
                </a:lnTo>
                <a:lnTo>
                  <a:pt x="15135" y="1192"/>
                </a:lnTo>
                <a:lnTo>
                  <a:pt x="15062" y="1265"/>
                </a:lnTo>
                <a:lnTo>
                  <a:pt x="15013" y="1338"/>
                </a:lnTo>
                <a:lnTo>
                  <a:pt x="15013" y="1436"/>
                </a:lnTo>
                <a:lnTo>
                  <a:pt x="15037" y="1509"/>
                </a:lnTo>
                <a:lnTo>
                  <a:pt x="15110" y="1533"/>
                </a:lnTo>
                <a:lnTo>
                  <a:pt x="15208" y="1533"/>
                </a:lnTo>
                <a:lnTo>
                  <a:pt x="15427" y="1411"/>
                </a:lnTo>
                <a:lnTo>
                  <a:pt x="15573" y="1509"/>
                </a:lnTo>
                <a:lnTo>
                  <a:pt x="15451" y="1679"/>
                </a:lnTo>
                <a:lnTo>
                  <a:pt x="15378" y="1849"/>
                </a:lnTo>
                <a:lnTo>
                  <a:pt x="15378" y="1995"/>
                </a:lnTo>
                <a:lnTo>
                  <a:pt x="15378" y="2044"/>
                </a:lnTo>
                <a:lnTo>
                  <a:pt x="15427" y="2068"/>
                </a:lnTo>
                <a:lnTo>
                  <a:pt x="15524" y="2068"/>
                </a:lnTo>
                <a:lnTo>
                  <a:pt x="15597" y="2020"/>
                </a:lnTo>
                <a:lnTo>
                  <a:pt x="15743" y="1898"/>
                </a:lnTo>
                <a:lnTo>
                  <a:pt x="15840" y="1801"/>
                </a:lnTo>
                <a:lnTo>
                  <a:pt x="15986" y="1971"/>
                </a:lnTo>
                <a:lnTo>
                  <a:pt x="15865" y="2093"/>
                </a:lnTo>
                <a:lnTo>
                  <a:pt x="15767" y="2239"/>
                </a:lnTo>
                <a:lnTo>
                  <a:pt x="15694" y="2385"/>
                </a:lnTo>
                <a:lnTo>
                  <a:pt x="15670" y="2458"/>
                </a:lnTo>
                <a:lnTo>
                  <a:pt x="15670" y="2531"/>
                </a:lnTo>
                <a:lnTo>
                  <a:pt x="15719" y="2506"/>
                </a:lnTo>
                <a:lnTo>
                  <a:pt x="15792" y="2482"/>
                </a:lnTo>
                <a:lnTo>
                  <a:pt x="15889" y="2433"/>
                </a:lnTo>
                <a:lnTo>
                  <a:pt x="15986" y="2360"/>
                </a:lnTo>
                <a:lnTo>
                  <a:pt x="16157" y="2239"/>
                </a:lnTo>
                <a:lnTo>
                  <a:pt x="16327" y="2579"/>
                </a:lnTo>
                <a:lnTo>
                  <a:pt x="16157" y="2701"/>
                </a:lnTo>
                <a:lnTo>
                  <a:pt x="15913" y="2944"/>
                </a:lnTo>
                <a:lnTo>
                  <a:pt x="15792" y="3066"/>
                </a:lnTo>
                <a:lnTo>
                  <a:pt x="15694" y="3212"/>
                </a:lnTo>
                <a:lnTo>
                  <a:pt x="15694" y="3261"/>
                </a:lnTo>
                <a:lnTo>
                  <a:pt x="15694" y="3309"/>
                </a:lnTo>
                <a:lnTo>
                  <a:pt x="15743" y="3334"/>
                </a:lnTo>
                <a:lnTo>
                  <a:pt x="15792" y="3334"/>
                </a:lnTo>
                <a:lnTo>
                  <a:pt x="15938" y="3285"/>
                </a:lnTo>
                <a:lnTo>
                  <a:pt x="16059" y="3212"/>
                </a:lnTo>
                <a:lnTo>
                  <a:pt x="16327" y="3017"/>
                </a:lnTo>
                <a:lnTo>
                  <a:pt x="16449" y="2944"/>
                </a:lnTo>
                <a:lnTo>
                  <a:pt x="16570" y="3431"/>
                </a:lnTo>
                <a:lnTo>
                  <a:pt x="16497" y="3480"/>
                </a:lnTo>
                <a:lnTo>
                  <a:pt x="16400" y="3553"/>
                </a:lnTo>
                <a:lnTo>
                  <a:pt x="16303" y="3650"/>
                </a:lnTo>
                <a:lnTo>
                  <a:pt x="16181" y="3747"/>
                </a:lnTo>
                <a:lnTo>
                  <a:pt x="15962" y="3893"/>
                </a:lnTo>
                <a:lnTo>
                  <a:pt x="15889" y="3991"/>
                </a:lnTo>
                <a:lnTo>
                  <a:pt x="15816" y="4112"/>
                </a:lnTo>
                <a:lnTo>
                  <a:pt x="15792" y="4137"/>
                </a:lnTo>
                <a:lnTo>
                  <a:pt x="15816" y="4185"/>
                </a:lnTo>
                <a:lnTo>
                  <a:pt x="15865" y="4210"/>
                </a:lnTo>
                <a:lnTo>
                  <a:pt x="15889" y="4185"/>
                </a:lnTo>
                <a:lnTo>
                  <a:pt x="16254" y="4064"/>
                </a:lnTo>
                <a:lnTo>
                  <a:pt x="16449" y="3966"/>
                </a:lnTo>
                <a:lnTo>
                  <a:pt x="16643" y="3869"/>
                </a:lnTo>
                <a:lnTo>
                  <a:pt x="16643" y="4039"/>
                </a:lnTo>
                <a:lnTo>
                  <a:pt x="16668" y="4185"/>
                </a:lnTo>
                <a:lnTo>
                  <a:pt x="16546" y="4234"/>
                </a:lnTo>
                <a:lnTo>
                  <a:pt x="16424" y="4283"/>
                </a:lnTo>
                <a:lnTo>
                  <a:pt x="16205" y="4404"/>
                </a:lnTo>
                <a:lnTo>
                  <a:pt x="15962" y="4575"/>
                </a:lnTo>
                <a:lnTo>
                  <a:pt x="15840" y="4672"/>
                </a:lnTo>
                <a:lnTo>
                  <a:pt x="15719" y="4769"/>
                </a:lnTo>
                <a:lnTo>
                  <a:pt x="15719" y="4842"/>
                </a:lnTo>
                <a:lnTo>
                  <a:pt x="15743" y="4867"/>
                </a:lnTo>
                <a:lnTo>
                  <a:pt x="15767" y="4867"/>
                </a:lnTo>
                <a:lnTo>
                  <a:pt x="16059" y="4818"/>
                </a:lnTo>
                <a:lnTo>
                  <a:pt x="16351" y="4721"/>
                </a:lnTo>
                <a:lnTo>
                  <a:pt x="16692" y="4623"/>
                </a:lnTo>
                <a:lnTo>
                  <a:pt x="16668" y="4940"/>
                </a:lnTo>
                <a:lnTo>
                  <a:pt x="16668" y="5256"/>
                </a:lnTo>
                <a:lnTo>
                  <a:pt x="16449" y="5280"/>
                </a:lnTo>
                <a:lnTo>
                  <a:pt x="16230" y="5329"/>
                </a:lnTo>
                <a:lnTo>
                  <a:pt x="16059" y="5378"/>
                </a:lnTo>
                <a:lnTo>
                  <a:pt x="15889" y="5426"/>
                </a:lnTo>
                <a:lnTo>
                  <a:pt x="15548" y="5572"/>
                </a:lnTo>
                <a:lnTo>
                  <a:pt x="15548" y="5597"/>
                </a:lnTo>
                <a:lnTo>
                  <a:pt x="15573" y="5621"/>
                </a:lnTo>
                <a:lnTo>
                  <a:pt x="15816" y="5645"/>
                </a:lnTo>
                <a:lnTo>
                  <a:pt x="16084" y="5670"/>
                </a:lnTo>
                <a:lnTo>
                  <a:pt x="16351" y="5694"/>
                </a:lnTo>
                <a:lnTo>
                  <a:pt x="16619" y="5694"/>
                </a:lnTo>
                <a:lnTo>
                  <a:pt x="16546" y="6010"/>
                </a:lnTo>
                <a:lnTo>
                  <a:pt x="16473" y="6327"/>
                </a:lnTo>
                <a:lnTo>
                  <a:pt x="16351" y="6278"/>
                </a:lnTo>
                <a:lnTo>
                  <a:pt x="16205" y="6229"/>
                </a:lnTo>
                <a:lnTo>
                  <a:pt x="15938" y="6181"/>
                </a:lnTo>
                <a:lnTo>
                  <a:pt x="15670" y="6156"/>
                </a:lnTo>
                <a:lnTo>
                  <a:pt x="15402" y="6156"/>
                </a:lnTo>
                <a:lnTo>
                  <a:pt x="15354" y="6205"/>
                </a:lnTo>
                <a:lnTo>
                  <a:pt x="15354" y="6254"/>
                </a:lnTo>
                <a:lnTo>
                  <a:pt x="15378" y="6327"/>
                </a:lnTo>
                <a:lnTo>
                  <a:pt x="15427" y="6375"/>
                </a:lnTo>
                <a:lnTo>
                  <a:pt x="15500" y="6424"/>
                </a:lnTo>
                <a:lnTo>
                  <a:pt x="15573" y="6472"/>
                </a:lnTo>
                <a:lnTo>
                  <a:pt x="15743" y="6521"/>
                </a:lnTo>
                <a:lnTo>
                  <a:pt x="15889" y="6545"/>
                </a:lnTo>
                <a:lnTo>
                  <a:pt x="16108" y="6618"/>
                </a:lnTo>
                <a:lnTo>
                  <a:pt x="16351" y="6691"/>
                </a:lnTo>
                <a:lnTo>
                  <a:pt x="16376" y="6716"/>
                </a:lnTo>
                <a:lnTo>
                  <a:pt x="16254" y="7032"/>
                </a:lnTo>
                <a:lnTo>
                  <a:pt x="16084" y="7008"/>
                </a:lnTo>
                <a:lnTo>
                  <a:pt x="15889" y="6959"/>
                </a:lnTo>
                <a:lnTo>
                  <a:pt x="15524" y="6862"/>
                </a:lnTo>
                <a:lnTo>
                  <a:pt x="15329" y="6837"/>
                </a:lnTo>
                <a:lnTo>
                  <a:pt x="15159" y="6837"/>
                </a:lnTo>
                <a:lnTo>
                  <a:pt x="14964" y="6862"/>
                </a:lnTo>
                <a:lnTo>
                  <a:pt x="14794" y="6935"/>
                </a:lnTo>
                <a:lnTo>
                  <a:pt x="14770" y="6983"/>
                </a:lnTo>
                <a:lnTo>
                  <a:pt x="14770" y="7008"/>
                </a:lnTo>
                <a:lnTo>
                  <a:pt x="14770" y="7056"/>
                </a:lnTo>
                <a:lnTo>
                  <a:pt x="14818" y="7081"/>
                </a:lnTo>
                <a:lnTo>
                  <a:pt x="15135" y="7178"/>
                </a:lnTo>
                <a:lnTo>
                  <a:pt x="15451" y="7300"/>
                </a:lnTo>
                <a:lnTo>
                  <a:pt x="15767" y="7397"/>
                </a:lnTo>
                <a:lnTo>
                  <a:pt x="16084" y="7470"/>
                </a:lnTo>
                <a:lnTo>
                  <a:pt x="15889" y="7884"/>
                </a:lnTo>
                <a:lnTo>
                  <a:pt x="15719" y="7786"/>
                </a:lnTo>
                <a:lnTo>
                  <a:pt x="15524" y="7738"/>
                </a:lnTo>
                <a:lnTo>
                  <a:pt x="15183" y="7665"/>
                </a:lnTo>
                <a:lnTo>
                  <a:pt x="14940" y="7616"/>
                </a:lnTo>
                <a:lnTo>
                  <a:pt x="14721" y="7567"/>
                </a:lnTo>
                <a:lnTo>
                  <a:pt x="14502" y="7543"/>
                </a:lnTo>
                <a:lnTo>
                  <a:pt x="14259" y="7567"/>
                </a:lnTo>
                <a:lnTo>
                  <a:pt x="14210" y="7592"/>
                </a:lnTo>
                <a:lnTo>
                  <a:pt x="14186" y="7640"/>
                </a:lnTo>
                <a:lnTo>
                  <a:pt x="14186" y="7689"/>
                </a:lnTo>
                <a:lnTo>
                  <a:pt x="14234" y="7713"/>
                </a:lnTo>
                <a:lnTo>
                  <a:pt x="14721" y="7884"/>
                </a:lnTo>
                <a:lnTo>
                  <a:pt x="15183" y="8078"/>
                </a:lnTo>
                <a:lnTo>
                  <a:pt x="15427" y="8151"/>
                </a:lnTo>
                <a:lnTo>
                  <a:pt x="15573" y="8176"/>
                </a:lnTo>
                <a:lnTo>
                  <a:pt x="15694" y="8200"/>
                </a:lnTo>
                <a:lnTo>
                  <a:pt x="15427" y="8638"/>
                </a:lnTo>
                <a:lnTo>
                  <a:pt x="15378" y="8614"/>
                </a:lnTo>
                <a:lnTo>
                  <a:pt x="14818" y="8565"/>
                </a:lnTo>
                <a:lnTo>
                  <a:pt x="14551" y="8516"/>
                </a:lnTo>
                <a:lnTo>
                  <a:pt x="14283" y="8468"/>
                </a:lnTo>
                <a:lnTo>
                  <a:pt x="13821" y="8370"/>
                </a:lnTo>
                <a:lnTo>
                  <a:pt x="13578" y="8322"/>
                </a:lnTo>
                <a:lnTo>
                  <a:pt x="13334" y="8322"/>
                </a:lnTo>
                <a:lnTo>
                  <a:pt x="13310" y="8346"/>
                </a:lnTo>
                <a:lnTo>
                  <a:pt x="13286" y="8370"/>
                </a:lnTo>
                <a:lnTo>
                  <a:pt x="13286" y="8395"/>
                </a:lnTo>
                <a:lnTo>
                  <a:pt x="13310" y="8419"/>
                </a:lnTo>
                <a:lnTo>
                  <a:pt x="13553" y="8541"/>
                </a:lnTo>
                <a:lnTo>
                  <a:pt x="13821" y="8638"/>
                </a:lnTo>
                <a:lnTo>
                  <a:pt x="14332" y="8808"/>
                </a:lnTo>
                <a:lnTo>
                  <a:pt x="14551" y="8857"/>
                </a:lnTo>
                <a:lnTo>
                  <a:pt x="14770" y="8906"/>
                </a:lnTo>
                <a:lnTo>
                  <a:pt x="15013" y="8930"/>
                </a:lnTo>
                <a:lnTo>
                  <a:pt x="15232" y="8930"/>
                </a:lnTo>
                <a:lnTo>
                  <a:pt x="14818" y="9465"/>
                </a:lnTo>
                <a:lnTo>
                  <a:pt x="14648" y="9417"/>
                </a:lnTo>
                <a:lnTo>
                  <a:pt x="14453" y="9368"/>
                </a:lnTo>
                <a:lnTo>
                  <a:pt x="14088" y="9319"/>
                </a:lnTo>
                <a:lnTo>
                  <a:pt x="13797" y="9271"/>
                </a:lnTo>
                <a:lnTo>
                  <a:pt x="13480" y="9198"/>
                </a:lnTo>
                <a:lnTo>
                  <a:pt x="13188" y="9100"/>
                </a:lnTo>
                <a:lnTo>
                  <a:pt x="12921" y="8979"/>
                </a:lnTo>
                <a:lnTo>
                  <a:pt x="12872" y="8979"/>
                </a:lnTo>
                <a:lnTo>
                  <a:pt x="12872" y="9027"/>
                </a:lnTo>
                <a:lnTo>
                  <a:pt x="12945" y="9125"/>
                </a:lnTo>
                <a:lnTo>
                  <a:pt x="13018" y="9222"/>
                </a:lnTo>
                <a:lnTo>
                  <a:pt x="13115" y="9319"/>
                </a:lnTo>
                <a:lnTo>
                  <a:pt x="13213" y="9392"/>
                </a:lnTo>
                <a:lnTo>
                  <a:pt x="13432" y="9490"/>
                </a:lnTo>
                <a:lnTo>
                  <a:pt x="13675" y="9587"/>
                </a:lnTo>
                <a:lnTo>
                  <a:pt x="13991" y="9684"/>
                </a:lnTo>
                <a:lnTo>
                  <a:pt x="14332" y="9733"/>
                </a:lnTo>
                <a:lnTo>
                  <a:pt x="14551" y="9806"/>
                </a:lnTo>
                <a:lnTo>
                  <a:pt x="14186" y="10195"/>
                </a:lnTo>
                <a:lnTo>
                  <a:pt x="14137" y="10098"/>
                </a:lnTo>
                <a:lnTo>
                  <a:pt x="14064" y="10049"/>
                </a:lnTo>
                <a:lnTo>
                  <a:pt x="13651" y="9928"/>
                </a:lnTo>
                <a:lnTo>
                  <a:pt x="13213" y="9782"/>
                </a:lnTo>
                <a:lnTo>
                  <a:pt x="12799" y="9660"/>
                </a:lnTo>
                <a:lnTo>
                  <a:pt x="12580" y="9611"/>
                </a:lnTo>
                <a:lnTo>
                  <a:pt x="12337" y="9611"/>
                </a:lnTo>
                <a:lnTo>
                  <a:pt x="12337" y="9636"/>
                </a:lnTo>
                <a:lnTo>
                  <a:pt x="12337" y="9660"/>
                </a:lnTo>
                <a:lnTo>
                  <a:pt x="12702" y="9903"/>
                </a:lnTo>
                <a:lnTo>
                  <a:pt x="13115" y="10122"/>
                </a:lnTo>
                <a:lnTo>
                  <a:pt x="13529" y="10293"/>
                </a:lnTo>
                <a:lnTo>
                  <a:pt x="13967" y="10439"/>
                </a:lnTo>
                <a:lnTo>
                  <a:pt x="13505" y="10877"/>
                </a:lnTo>
                <a:lnTo>
                  <a:pt x="13286" y="10804"/>
                </a:lnTo>
                <a:lnTo>
                  <a:pt x="13042" y="10731"/>
                </a:lnTo>
                <a:lnTo>
                  <a:pt x="12799" y="10658"/>
                </a:lnTo>
                <a:lnTo>
                  <a:pt x="12580" y="10585"/>
                </a:lnTo>
                <a:lnTo>
                  <a:pt x="12045" y="10341"/>
                </a:lnTo>
                <a:lnTo>
                  <a:pt x="11777" y="10244"/>
                </a:lnTo>
                <a:lnTo>
                  <a:pt x="11631" y="10220"/>
                </a:lnTo>
                <a:lnTo>
                  <a:pt x="11485" y="10195"/>
                </a:lnTo>
                <a:lnTo>
                  <a:pt x="11436" y="10220"/>
                </a:lnTo>
                <a:lnTo>
                  <a:pt x="11436" y="10244"/>
                </a:lnTo>
                <a:lnTo>
                  <a:pt x="11412" y="10268"/>
                </a:lnTo>
                <a:lnTo>
                  <a:pt x="11436" y="10317"/>
                </a:lnTo>
                <a:lnTo>
                  <a:pt x="11680" y="10512"/>
                </a:lnTo>
                <a:lnTo>
                  <a:pt x="11972" y="10706"/>
                </a:lnTo>
                <a:lnTo>
                  <a:pt x="12264" y="10852"/>
                </a:lnTo>
                <a:lnTo>
                  <a:pt x="12556" y="10998"/>
                </a:lnTo>
                <a:lnTo>
                  <a:pt x="12848" y="11120"/>
                </a:lnTo>
                <a:lnTo>
                  <a:pt x="12994" y="11169"/>
                </a:lnTo>
                <a:lnTo>
                  <a:pt x="13164" y="11193"/>
                </a:lnTo>
                <a:lnTo>
                  <a:pt x="12799" y="11509"/>
                </a:lnTo>
                <a:lnTo>
                  <a:pt x="12702" y="11461"/>
                </a:lnTo>
                <a:lnTo>
                  <a:pt x="12580" y="11412"/>
                </a:lnTo>
                <a:lnTo>
                  <a:pt x="12337" y="11363"/>
                </a:lnTo>
                <a:lnTo>
                  <a:pt x="12069" y="11315"/>
                </a:lnTo>
                <a:lnTo>
                  <a:pt x="11826" y="11266"/>
                </a:lnTo>
                <a:lnTo>
                  <a:pt x="11315" y="11071"/>
                </a:lnTo>
                <a:lnTo>
                  <a:pt x="11047" y="10998"/>
                </a:lnTo>
                <a:lnTo>
                  <a:pt x="10901" y="10974"/>
                </a:lnTo>
                <a:lnTo>
                  <a:pt x="10755" y="10974"/>
                </a:lnTo>
                <a:lnTo>
                  <a:pt x="10706" y="10998"/>
                </a:lnTo>
                <a:lnTo>
                  <a:pt x="10682" y="11023"/>
                </a:lnTo>
                <a:lnTo>
                  <a:pt x="10682" y="11071"/>
                </a:lnTo>
                <a:lnTo>
                  <a:pt x="10706" y="11096"/>
                </a:lnTo>
                <a:lnTo>
                  <a:pt x="10828" y="11217"/>
                </a:lnTo>
                <a:lnTo>
                  <a:pt x="10998" y="11339"/>
                </a:lnTo>
                <a:lnTo>
                  <a:pt x="11217" y="11461"/>
                </a:lnTo>
                <a:lnTo>
                  <a:pt x="11436" y="11582"/>
                </a:lnTo>
                <a:lnTo>
                  <a:pt x="11655" y="11704"/>
                </a:lnTo>
                <a:lnTo>
                  <a:pt x="11899" y="11777"/>
                </a:lnTo>
                <a:lnTo>
                  <a:pt x="12142" y="11826"/>
                </a:lnTo>
                <a:lnTo>
                  <a:pt x="12385" y="11874"/>
                </a:lnTo>
                <a:lnTo>
                  <a:pt x="12045" y="12142"/>
                </a:lnTo>
                <a:lnTo>
                  <a:pt x="11874" y="12093"/>
                </a:lnTo>
                <a:lnTo>
                  <a:pt x="11704" y="12045"/>
                </a:lnTo>
                <a:lnTo>
                  <a:pt x="11412" y="11996"/>
                </a:lnTo>
                <a:lnTo>
                  <a:pt x="11242" y="11947"/>
                </a:lnTo>
                <a:lnTo>
                  <a:pt x="11071" y="11850"/>
                </a:lnTo>
                <a:lnTo>
                  <a:pt x="10682" y="11680"/>
                </a:lnTo>
                <a:lnTo>
                  <a:pt x="10487" y="11582"/>
                </a:lnTo>
                <a:lnTo>
                  <a:pt x="10293" y="11534"/>
                </a:lnTo>
                <a:lnTo>
                  <a:pt x="10098" y="11509"/>
                </a:lnTo>
                <a:lnTo>
                  <a:pt x="9903" y="11534"/>
                </a:lnTo>
                <a:lnTo>
                  <a:pt x="9879" y="11534"/>
                </a:lnTo>
                <a:lnTo>
                  <a:pt x="9879" y="11558"/>
                </a:lnTo>
                <a:lnTo>
                  <a:pt x="9879" y="11631"/>
                </a:lnTo>
                <a:lnTo>
                  <a:pt x="9976" y="11728"/>
                </a:lnTo>
                <a:lnTo>
                  <a:pt x="10098" y="11826"/>
                </a:lnTo>
                <a:lnTo>
                  <a:pt x="10366" y="11972"/>
                </a:lnTo>
                <a:lnTo>
                  <a:pt x="10925" y="12215"/>
                </a:lnTo>
                <a:lnTo>
                  <a:pt x="11266" y="12361"/>
                </a:lnTo>
                <a:lnTo>
                  <a:pt x="11607" y="12483"/>
                </a:lnTo>
                <a:lnTo>
                  <a:pt x="11169" y="12799"/>
                </a:lnTo>
                <a:lnTo>
                  <a:pt x="10925" y="12726"/>
                </a:lnTo>
                <a:lnTo>
                  <a:pt x="10585" y="12604"/>
                </a:lnTo>
                <a:lnTo>
                  <a:pt x="10244" y="12458"/>
                </a:lnTo>
                <a:lnTo>
                  <a:pt x="9782" y="12239"/>
                </a:lnTo>
                <a:lnTo>
                  <a:pt x="9538" y="12142"/>
                </a:lnTo>
                <a:lnTo>
                  <a:pt x="9417" y="12118"/>
                </a:lnTo>
                <a:lnTo>
                  <a:pt x="9295" y="12118"/>
                </a:lnTo>
                <a:lnTo>
                  <a:pt x="9271" y="12142"/>
                </a:lnTo>
                <a:lnTo>
                  <a:pt x="9271" y="12191"/>
                </a:lnTo>
                <a:lnTo>
                  <a:pt x="9344" y="12312"/>
                </a:lnTo>
                <a:lnTo>
                  <a:pt x="9441" y="12410"/>
                </a:lnTo>
                <a:lnTo>
                  <a:pt x="9563" y="12507"/>
                </a:lnTo>
                <a:lnTo>
                  <a:pt x="9684" y="12604"/>
                </a:lnTo>
                <a:lnTo>
                  <a:pt x="9976" y="12750"/>
                </a:lnTo>
                <a:lnTo>
                  <a:pt x="10244" y="12896"/>
                </a:lnTo>
                <a:lnTo>
                  <a:pt x="10463" y="12994"/>
                </a:lnTo>
                <a:lnTo>
                  <a:pt x="10731" y="13115"/>
                </a:lnTo>
                <a:lnTo>
                  <a:pt x="10220" y="13456"/>
                </a:lnTo>
                <a:lnTo>
                  <a:pt x="10220" y="13359"/>
                </a:lnTo>
                <a:lnTo>
                  <a:pt x="10195" y="13334"/>
                </a:lnTo>
                <a:lnTo>
                  <a:pt x="10147" y="13286"/>
                </a:lnTo>
                <a:lnTo>
                  <a:pt x="9976" y="13188"/>
                </a:lnTo>
                <a:lnTo>
                  <a:pt x="9782" y="13091"/>
                </a:lnTo>
                <a:lnTo>
                  <a:pt x="9417" y="12921"/>
                </a:lnTo>
                <a:lnTo>
                  <a:pt x="9222" y="12848"/>
                </a:lnTo>
                <a:lnTo>
                  <a:pt x="9052" y="12775"/>
                </a:lnTo>
                <a:lnTo>
                  <a:pt x="8857" y="12726"/>
                </a:lnTo>
                <a:lnTo>
                  <a:pt x="8662" y="12726"/>
                </a:lnTo>
                <a:lnTo>
                  <a:pt x="8638" y="12750"/>
                </a:lnTo>
                <a:lnTo>
                  <a:pt x="8638" y="12775"/>
                </a:lnTo>
                <a:lnTo>
                  <a:pt x="8979" y="13018"/>
                </a:lnTo>
                <a:lnTo>
                  <a:pt x="9319" y="13261"/>
                </a:lnTo>
                <a:lnTo>
                  <a:pt x="9490" y="13383"/>
                </a:lnTo>
                <a:lnTo>
                  <a:pt x="9660" y="13480"/>
                </a:lnTo>
                <a:lnTo>
                  <a:pt x="9855" y="13553"/>
                </a:lnTo>
                <a:lnTo>
                  <a:pt x="10049" y="13602"/>
                </a:lnTo>
                <a:lnTo>
                  <a:pt x="9538" y="13943"/>
                </a:lnTo>
                <a:lnTo>
                  <a:pt x="9538" y="13918"/>
                </a:lnTo>
                <a:lnTo>
                  <a:pt x="9465" y="13870"/>
                </a:lnTo>
                <a:lnTo>
                  <a:pt x="9368" y="13821"/>
                </a:lnTo>
                <a:lnTo>
                  <a:pt x="9222" y="13724"/>
                </a:lnTo>
                <a:lnTo>
                  <a:pt x="8808" y="13407"/>
                </a:lnTo>
                <a:lnTo>
                  <a:pt x="8662" y="13286"/>
                </a:lnTo>
                <a:lnTo>
                  <a:pt x="8492" y="13140"/>
                </a:lnTo>
                <a:lnTo>
                  <a:pt x="8297" y="13042"/>
                </a:lnTo>
                <a:lnTo>
                  <a:pt x="8200" y="12994"/>
                </a:lnTo>
                <a:lnTo>
                  <a:pt x="8054" y="12994"/>
                </a:lnTo>
                <a:lnTo>
                  <a:pt x="8030" y="13018"/>
                </a:lnTo>
                <a:lnTo>
                  <a:pt x="7957" y="13091"/>
                </a:lnTo>
                <a:lnTo>
                  <a:pt x="7957" y="13164"/>
                </a:lnTo>
                <a:lnTo>
                  <a:pt x="7981" y="13213"/>
                </a:lnTo>
                <a:lnTo>
                  <a:pt x="8005" y="13261"/>
                </a:lnTo>
                <a:lnTo>
                  <a:pt x="8297" y="13529"/>
                </a:lnTo>
                <a:lnTo>
                  <a:pt x="8614" y="13772"/>
                </a:lnTo>
                <a:lnTo>
                  <a:pt x="8881" y="13991"/>
                </a:lnTo>
                <a:lnTo>
                  <a:pt x="9027" y="14113"/>
                </a:lnTo>
                <a:lnTo>
                  <a:pt x="9173" y="14210"/>
                </a:lnTo>
                <a:lnTo>
                  <a:pt x="8784" y="14478"/>
                </a:lnTo>
                <a:lnTo>
                  <a:pt x="8711" y="14502"/>
                </a:lnTo>
                <a:lnTo>
                  <a:pt x="8565" y="14381"/>
                </a:lnTo>
                <a:lnTo>
                  <a:pt x="8419" y="14259"/>
                </a:lnTo>
                <a:lnTo>
                  <a:pt x="8103" y="14040"/>
                </a:lnTo>
                <a:lnTo>
                  <a:pt x="7713" y="13797"/>
                </a:lnTo>
                <a:lnTo>
                  <a:pt x="7348" y="13578"/>
                </a:lnTo>
                <a:lnTo>
                  <a:pt x="6570" y="13115"/>
                </a:lnTo>
                <a:lnTo>
                  <a:pt x="6180" y="12872"/>
                </a:lnTo>
                <a:lnTo>
                  <a:pt x="5767" y="12604"/>
                </a:lnTo>
                <a:lnTo>
                  <a:pt x="5402" y="12312"/>
                </a:lnTo>
                <a:lnTo>
                  <a:pt x="5037" y="11996"/>
                </a:lnTo>
                <a:lnTo>
                  <a:pt x="4623" y="11680"/>
                </a:lnTo>
                <a:lnTo>
                  <a:pt x="4210" y="11363"/>
                </a:lnTo>
                <a:lnTo>
                  <a:pt x="3820" y="11023"/>
                </a:lnTo>
                <a:lnTo>
                  <a:pt x="3626" y="10852"/>
                </a:lnTo>
                <a:lnTo>
                  <a:pt x="3455" y="10658"/>
                </a:lnTo>
                <a:lnTo>
                  <a:pt x="2847" y="9952"/>
                </a:lnTo>
                <a:lnTo>
                  <a:pt x="2263" y="9222"/>
                </a:lnTo>
                <a:lnTo>
                  <a:pt x="1971" y="8857"/>
                </a:lnTo>
                <a:lnTo>
                  <a:pt x="1728" y="8468"/>
                </a:lnTo>
                <a:lnTo>
                  <a:pt x="1484" y="8054"/>
                </a:lnTo>
                <a:lnTo>
                  <a:pt x="1265" y="7640"/>
                </a:lnTo>
                <a:lnTo>
                  <a:pt x="1095" y="7227"/>
                </a:lnTo>
                <a:lnTo>
                  <a:pt x="949" y="6789"/>
                </a:lnTo>
                <a:lnTo>
                  <a:pt x="827" y="6351"/>
                </a:lnTo>
                <a:lnTo>
                  <a:pt x="730" y="5889"/>
                </a:lnTo>
                <a:lnTo>
                  <a:pt x="657" y="5451"/>
                </a:lnTo>
                <a:lnTo>
                  <a:pt x="633" y="4988"/>
                </a:lnTo>
                <a:lnTo>
                  <a:pt x="608" y="4526"/>
                </a:lnTo>
                <a:lnTo>
                  <a:pt x="608" y="4064"/>
                </a:lnTo>
                <a:lnTo>
                  <a:pt x="608" y="3674"/>
                </a:lnTo>
                <a:lnTo>
                  <a:pt x="657" y="3261"/>
                </a:lnTo>
                <a:lnTo>
                  <a:pt x="706" y="2871"/>
                </a:lnTo>
                <a:lnTo>
                  <a:pt x="827" y="2482"/>
                </a:lnTo>
                <a:lnTo>
                  <a:pt x="973" y="2117"/>
                </a:lnTo>
                <a:lnTo>
                  <a:pt x="1046" y="1947"/>
                </a:lnTo>
                <a:lnTo>
                  <a:pt x="1168" y="1776"/>
                </a:lnTo>
                <a:lnTo>
                  <a:pt x="1265" y="1630"/>
                </a:lnTo>
                <a:lnTo>
                  <a:pt x="1411" y="1460"/>
                </a:lnTo>
                <a:lnTo>
                  <a:pt x="1557" y="1338"/>
                </a:lnTo>
                <a:lnTo>
                  <a:pt x="1728" y="1192"/>
                </a:lnTo>
                <a:lnTo>
                  <a:pt x="1922" y="1071"/>
                </a:lnTo>
                <a:lnTo>
                  <a:pt x="2117" y="949"/>
                </a:lnTo>
                <a:lnTo>
                  <a:pt x="2336" y="852"/>
                </a:lnTo>
                <a:lnTo>
                  <a:pt x="2531" y="779"/>
                </a:lnTo>
                <a:lnTo>
                  <a:pt x="2774" y="706"/>
                </a:lnTo>
                <a:lnTo>
                  <a:pt x="2993" y="633"/>
                </a:lnTo>
                <a:lnTo>
                  <a:pt x="3455" y="560"/>
                </a:lnTo>
                <a:lnTo>
                  <a:pt x="3918" y="535"/>
                </a:lnTo>
                <a:close/>
                <a:moveTo>
                  <a:pt x="3358" y="0"/>
                </a:moveTo>
                <a:lnTo>
                  <a:pt x="2969" y="73"/>
                </a:lnTo>
                <a:lnTo>
                  <a:pt x="2579" y="146"/>
                </a:lnTo>
                <a:lnTo>
                  <a:pt x="2239" y="268"/>
                </a:lnTo>
                <a:lnTo>
                  <a:pt x="1874" y="414"/>
                </a:lnTo>
                <a:lnTo>
                  <a:pt x="1557" y="608"/>
                </a:lnTo>
                <a:lnTo>
                  <a:pt x="1241" y="827"/>
                </a:lnTo>
                <a:lnTo>
                  <a:pt x="949" y="1095"/>
                </a:lnTo>
                <a:lnTo>
                  <a:pt x="706" y="1387"/>
                </a:lnTo>
                <a:lnTo>
                  <a:pt x="487" y="1728"/>
                </a:lnTo>
                <a:lnTo>
                  <a:pt x="316" y="2093"/>
                </a:lnTo>
                <a:lnTo>
                  <a:pt x="195" y="2482"/>
                </a:lnTo>
                <a:lnTo>
                  <a:pt x="97" y="2896"/>
                </a:lnTo>
                <a:lnTo>
                  <a:pt x="49" y="3309"/>
                </a:lnTo>
                <a:lnTo>
                  <a:pt x="0" y="3747"/>
                </a:lnTo>
                <a:lnTo>
                  <a:pt x="0" y="4161"/>
                </a:lnTo>
                <a:lnTo>
                  <a:pt x="24" y="4988"/>
                </a:lnTo>
                <a:lnTo>
                  <a:pt x="73" y="5451"/>
                </a:lnTo>
                <a:lnTo>
                  <a:pt x="146" y="5913"/>
                </a:lnTo>
                <a:lnTo>
                  <a:pt x="219" y="6351"/>
                </a:lnTo>
                <a:lnTo>
                  <a:pt x="341" y="6789"/>
                </a:lnTo>
                <a:lnTo>
                  <a:pt x="487" y="7227"/>
                </a:lnTo>
                <a:lnTo>
                  <a:pt x="633" y="7665"/>
                </a:lnTo>
                <a:lnTo>
                  <a:pt x="827" y="8078"/>
                </a:lnTo>
                <a:lnTo>
                  <a:pt x="1046" y="8492"/>
                </a:lnTo>
                <a:lnTo>
                  <a:pt x="1265" y="8881"/>
                </a:lnTo>
                <a:lnTo>
                  <a:pt x="1533" y="9246"/>
                </a:lnTo>
                <a:lnTo>
                  <a:pt x="1801" y="9587"/>
                </a:lnTo>
                <a:lnTo>
                  <a:pt x="2093" y="9928"/>
                </a:lnTo>
                <a:lnTo>
                  <a:pt x="2458" y="10341"/>
                </a:lnTo>
                <a:lnTo>
                  <a:pt x="2798" y="10779"/>
                </a:lnTo>
                <a:lnTo>
                  <a:pt x="3139" y="11169"/>
                </a:lnTo>
                <a:lnTo>
                  <a:pt x="3334" y="11363"/>
                </a:lnTo>
                <a:lnTo>
                  <a:pt x="3553" y="11558"/>
                </a:lnTo>
                <a:lnTo>
                  <a:pt x="4331" y="12215"/>
                </a:lnTo>
                <a:lnTo>
                  <a:pt x="5134" y="12823"/>
                </a:lnTo>
                <a:lnTo>
                  <a:pt x="5961" y="13432"/>
                </a:lnTo>
                <a:lnTo>
                  <a:pt x="6399" y="13724"/>
                </a:lnTo>
                <a:lnTo>
                  <a:pt x="6837" y="13991"/>
                </a:lnTo>
                <a:lnTo>
                  <a:pt x="7275" y="14235"/>
                </a:lnTo>
                <a:lnTo>
                  <a:pt x="7689" y="14502"/>
                </a:lnTo>
                <a:lnTo>
                  <a:pt x="7981" y="14672"/>
                </a:lnTo>
                <a:lnTo>
                  <a:pt x="8127" y="14770"/>
                </a:lnTo>
                <a:lnTo>
                  <a:pt x="8249" y="14891"/>
                </a:lnTo>
                <a:lnTo>
                  <a:pt x="8249" y="14964"/>
                </a:lnTo>
                <a:lnTo>
                  <a:pt x="8249" y="15062"/>
                </a:lnTo>
                <a:lnTo>
                  <a:pt x="8297" y="15110"/>
                </a:lnTo>
                <a:lnTo>
                  <a:pt x="8370" y="15183"/>
                </a:lnTo>
                <a:lnTo>
                  <a:pt x="8443" y="15208"/>
                </a:lnTo>
                <a:lnTo>
                  <a:pt x="8516" y="15232"/>
                </a:lnTo>
                <a:lnTo>
                  <a:pt x="8614" y="15232"/>
                </a:lnTo>
                <a:lnTo>
                  <a:pt x="8711" y="15183"/>
                </a:lnTo>
                <a:lnTo>
                  <a:pt x="8735" y="15159"/>
                </a:lnTo>
                <a:lnTo>
                  <a:pt x="8784" y="15110"/>
                </a:lnTo>
                <a:lnTo>
                  <a:pt x="9490" y="14599"/>
                </a:lnTo>
                <a:lnTo>
                  <a:pt x="10220" y="14113"/>
                </a:lnTo>
                <a:lnTo>
                  <a:pt x="10925" y="13602"/>
                </a:lnTo>
                <a:lnTo>
                  <a:pt x="11631" y="13115"/>
                </a:lnTo>
                <a:lnTo>
                  <a:pt x="12312" y="12604"/>
                </a:lnTo>
                <a:lnTo>
                  <a:pt x="12969" y="12069"/>
                </a:lnTo>
                <a:lnTo>
                  <a:pt x="13578" y="11509"/>
                </a:lnTo>
                <a:lnTo>
                  <a:pt x="14186" y="10925"/>
                </a:lnTo>
                <a:lnTo>
                  <a:pt x="14745" y="10341"/>
                </a:lnTo>
                <a:lnTo>
                  <a:pt x="15256" y="9733"/>
                </a:lnTo>
                <a:lnTo>
                  <a:pt x="15743" y="9076"/>
                </a:lnTo>
                <a:lnTo>
                  <a:pt x="15962" y="8735"/>
                </a:lnTo>
                <a:lnTo>
                  <a:pt x="16157" y="8395"/>
                </a:lnTo>
                <a:lnTo>
                  <a:pt x="16351" y="8054"/>
                </a:lnTo>
                <a:lnTo>
                  <a:pt x="16522" y="7689"/>
                </a:lnTo>
                <a:lnTo>
                  <a:pt x="16668" y="7324"/>
                </a:lnTo>
                <a:lnTo>
                  <a:pt x="16814" y="6959"/>
                </a:lnTo>
                <a:lnTo>
                  <a:pt x="16935" y="6570"/>
                </a:lnTo>
                <a:lnTo>
                  <a:pt x="17033" y="6181"/>
                </a:lnTo>
                <a:lnTo>
                  <a:pt x="17106" y="5791"/>
                </a:lnTo>
                <a:lnTo>
                  <a:pt x="17179" y="5378"/>
                </a:lnTo>
                <a:lnTo>
                  <a:pt x="17203" y="5013"/>
                </a:lnTo>
                <a:lnTo>
                  <a:pt x="17227" y="4623"/>
                </a:lnTo>
                <a:lnTo>
                  <a:pt x="17227" y="4210"/>
                </a:lnTo>
                <a:lnTo>
                  <a:pt x="17203" y="3820"/>
                </a:lnTo>
                <a:lnTo>
                  <a:pt x="17130" y="3407"/>
                </a:lnTo>
                <a:lnTo>
                  <a:pt x="17057" y="3017"/>
                </a:lnTo>
                <a:lnTo>
                  <a:pt x="16960" y="2652"/>
                </a:lnTo>
                <a:lnTo>
                  <a:pt x="16814" y="2287"/>
                </a:lnTo>
                <a:lnTo>
                  <a:pt x="16643" y="1947"/>
                </a:lnTo>
                <a:lnTo>
                  <a:pt x="16449" y="1655"/>
                </a:lnTo>
                <a:lnTo>
                  <a:pt x="16205" y="1363"/>
                </a:lnTo>
                <a:lnTo>
                  <a:pt x="15938" y="1119"/>
                </a:lnTo>
                <a:lnTo>
                  <a:pt x="15646" y="876"/>
                </a:lnTo>
                <a:lnTo>
                  <a:pt x="15329" y="681"/>
                </a:lnTo>
                <a:lnTo>
                  <a:pt x="14989" y="511"/>
                </a:lnTo>
                <a:lnTo>
                  <a:pt x="14648" y="365"/>
                </a:lnTo>
                <a:lnTo>
                  <a:pt x="14332" y="243"/>
                </a:lnTo>
                <a:lnTo>
                  <a:pt x="13967" y="170"/>
                </a:lnTo>
                <a:lnTo>
                  <a:pt x="13578" y="97"/>
                </a:lnTo>
                <a:lnTo>
                  <a:pt x="13188" y="73"/>
                </a:lnTo>
                <a:lnTo>
                  <a:pt x="12799" y="49"/>
                </a:lnTo>
                <a:lnTo>
                  <a:pt x="12410" y="73"/>
                </a:lnTo>
                <a:lnTo>
                  <a:pt x="12045" y="146"/>
                </a:lnTo>
                <a:lnTo>
                  <a:pt x="11704" y="243"/>
                </a:lnTo>
                <a:lnTo>
                  <a:pt x="11217" y="462"/>
                </a:lnTo>
                <a:lnTo>
                  <a:pt x="10731" y="706"/>
                </a:lnTo>
                <a:lnTo>
                  <a:pt x="10268" y="949"/>
                </a:lnTo>
                <a:lnTo>
                  <a:pt x="9806" y="1241"/>
                </a:lnTo>
                <a:lnTo>
                  <a:pt x="9611" y="1363"/>
                </a:lnTo>
                <a:lnTo>
                  <a:pt x="9271" y="1582"/>
                </a:lnTo>
                <a:lnTo>
                  <a:pt x="8906" y="1874"/>
                </a:lnTo>
                <a:lnTo>
                  <a:pt x="8735" y="2044"/>
                </a:lnTo>
                <a:lnTo>
                  <a:pt x="8589" y="2190"/>
                </a:lnTo>
                <a:lnTo>
                  <a:pt x="8468" y="2044"/>
                </a:lnTo>
                <a:lnTo>
                  <a:pt x="8322" y="1922"/>
                </a:lnTo>
                <a:lnTo>
                  <a:pt x="7981" y="1630"/>
                </a:lnTo>
                <a:lnTo>
                  <a:pt x="7592" y="1363"/>
                </a:lnTo>
                <a:lnTo>
                  <a:pt x="7202" y="1119"/>
                </a:lnTo>
                <a:lnTo>
                  <a:pt x="6813" y="900"/>
                </a:lnTo>
                <a:lnTo>
                  <a:pt x="6472" y="706"/>
                </a:lnTo>
                <a:lnTo>
                  <a:pt x="5986" y="487"/>
                </a:lnTo>
                <a:lnTo>
                  <a:pt x="5645" y="341"/>
                </a:lnTo>
                <a:lnTo>
                  <a:pt x="5280" y="219"/>
                </a:lnTo>
                <a:lnTo>
                  <a:pt x="4915" y="122"/>
                </a:lnTo>
                <a:lnTo>
                  <a:pt x="4526" y="49"/>
                </a:lnTo>
                <a:lnTo>
                  <a:pt x="4137" y="0"/>
                </a:lnTo>
                <a:close/>
              </a:path>
            </a:pathLst>
          </a:custGeom>
          <a:solidFill>
            <a:srgbClr val="C0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7" name="Rectangle 56">
            <a:extLst>
              <a:ext uri="{FF2B5EF4-FFF2-40B4-BE49-F238E27FC236}">
                <a16:creationId xmlns:a16="http://schemas.microsoft.com/office/drawing/2014/main" id="{6D84226D-9F49-06EF-03D2-1C81CCC77A67}"/>
              </a:ext>
            </a:extLst>
          </p:cNvPr>
          <p:cNvSpPr/>
          <p:nvPr/>
        </p:nvSpPr>
        <p:spPr>
          <a:xfrm>
            <a:off x="588438" y="3234226"/>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58" name="TextBox 57">
            <a:extLst>
              <a:ext uri="{FF2B5EF4-FFF2-40B4-BE49-F238E27FC236}">
                <a16:creationId xmlns:a16="http://schemas.microsoft.com/office/drawing/2014/main" id="{719299AC-D3D6-2C29-2F7B-DA88239AC2FC}"/>
              </a:ext>
            </a:extLst>
          </p:cNvPr>
          <p:cNvSpPr txBox="1"/>
          <p:nvPr/>
        </p:nvSpPr>
        <p:spPr bwMode="auto">
          <a:xfrm>
            <a:off x="1125463" y="3688716"/>
            <a:ext cx="2785766"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rPr>
              <a:t>Hvad lyder svært? </a:t>
            </a:r>
          </a:p>
          <a:p>
            <a:pPr marR="0" algn="l" defTabSz="457200" rtl="0" eaLnBrk="0" fontAlgn="base" latinLnBrk="0" hangingPunct="0">
              <a:spcBef>
                <a:spcPct val="0"/>
              </a:spcBef>
              <a:buClrTx/>
              <a:buSzTx/>
              <a:tabLst/>
            </a:pPr>
            <a:r>
              <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rPr>
              <a:t>Hvordan kan vi overkomme det?</a:t>
            </a:r>
          </a:p>
        </p:txBody>
      </p:sp>
      <p:sp>
        <p:nvSpPr>
          <p:cNvPr id="60" name="TextBox 59">
            <a:extLst>
              <a:ext uri="{FF2B5EF4-FFF2-40B4-BE49-F238E27FC236}">
                <a16:creationId xmlns:a16="http://schemas.microsoft.com/office/drawing/2014/main" id="{16C57276-7541-172E-07A2-1EA92EB7F2B1}"/>
              </a:ext>
            </a:extLst>
          </p:cNvPr>
          <p:cNvSpPr txBox="1"/>
          <p:nvPr/>
        </p:nvSpPr>
        <p:spPr bwMode="auto">
          <a:xfrm>
            <a:off x="1125463" y="3234226"/>
            <a:ext cx="1706238"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a:latin typeface="Quicksand" panose="020B0604020202020204"/>
              </a:rPr>
              <a:t>PUUH!</a:t>
            </a:r>
            <a:endParaRPr lang="da-DK" sz="2400" spc="0">
              <a:latin typeface="Quicksand" panose="020B0604020202020204"/>
            </a:endParaRPr>
          </a:p>
        </p:txBody>
      </p:sp>
      <p:sp>
        <p:nvSpPr>
          <p:cNvPr id="61" name="Shape 336">
            <a:extLst>
              <a:ext uri="{FF2B5EF4-FFF2-40B4-BE49-F238E27FC236}">
                <a16:creationId xmlns:a16="http://schemas.microsoft.com/office/drawing/2014/main" id="{776E869D-7391-D603-C678-A8E594F435DF}"/>
              </a:ext>
            </a:extLst>
          </p:cNvPr>
          <p:cNvSpPr>
            <a:spLocks noChangeAspect="1"/>
          </p:cNvSpPr>
          <p:nvPr/>
        </p:nvSpPr>
        <p:spPr>
          <a:xfrm>
            <a:off x="619653" y="3225997"/>
            <a:ext cx="397493" cy="492992"/>
          </a:xfrm>
          <a:custGeom>
            <a:avLst/>
            <a:gdLst/>
            <a:ahLst/>
            <a:cxnLst/>
            <a:rect l="0" t="0" r="0" b="0"/>
            <a:pathLst>
              <a:path w="13554" h="18858" extrusionOk="0">
                <a:moveTo>
                  <a:pt x="7032" y="462"/>
                </a:moveTo>
                <a:lnTo>
                  <a:pt x="7300" y="487"/>
                </a:lnTo>
                <a:lnTo>
                  <a:pt x="7592" y="511"/>
                </a:lnTo>
                <a:lnTo>
                  <a:pt x="7860" y="560"/>
                </a:lnTo>
                <a:lnTo>
                  <a:pt x="8127" y="633"/>
                </a:lnTo>
                <a:lnTo>
                  <a:pt x="8395" y="706"/>
                </a:lnTo>
                <a:lnTo>
                  <a:pt x="8662" y="803"/>
                </a:lnTo>
                <a:lnTo>
                  <a:pt x="8906" y="925"/>
                </a:lnTo>
                <a:lnTo>
                  <a:pt x="9173" y="1046"/>
                </a:lnTo>
                <a:lnTo>
                  <a:pt x="9417" y="1168"/>
                </a:lnTo>
                <a:lnTo>
                  <a:pt x="9636" y="1338"/>
                </a:lnTo>
                <a:lnTo>
                  <a:pt x="9879" y="1484"/>
                </a:lnTo>
                <a:lnTo>
                  <a:pt x="10074" y="1679"/>
                </a:lnTo>
                <a:lnTo>
                  <a:pt x="10293" y="1849"/>
                </a:lnTo>
                <a:lnTo>
                  <a:pt x="10487" y="2068"/>
                </a:lnTo>
                <a:lnTo>
                  <a:pt x="10731" y="2336"/>
                </a:lnTo>
                <a:lnTo>
                  <a:pt x="10950" y="2652"/>
                </a:lnTo>
                <a:lnTo>
                  <a:pt x="11144" y="2969"/>
                </a:lnTo>
                <a:lnTo>
                  <a:pt x="11290" y="3285"/>
                </a:lnTo>
                <a:lnTo>
                  <a:pt x="11412" y="3626"/>
                </a:lnTo>
                <a:lnTo>
                  <a:pt x="11509" y="3966"/>
                </a:lnTo>
                <a:lnTo>
                  <a:pt x="11582" y="4331"/>
                </a:lnTo>
                <a:lnTo>
                  <a:pt x="11607" y="4721"/>
                </a:lnTo>
                <a:lnTo>
                  <a:pt x="11631" y="5378"/>
                </a:lnTo>
                <a:lnTo>
                  <a:pt x="11655" y="6059"/>
                </a:lnTo>
                <a:lnTo>
                  <a:pt x="11680" y="6716"/>
                </a:lnTo>
                <a:lnTo>
                  <a:pt x="11704" y="7057"/>
                </a:lnTo>
                <a:lnTo>
                  <a:pt x="11753" y="7397"/>
                </a:lnTo>
                <a:lnTo>
                  <a:pt x="10706" y="7397"/>
                </a:lnTo>
                <a:lnTo>
                  <a:pt x="10682" y="6327"/>
                </a:lnTo>
                <a:lnTo>
                  <a:pt x="10682" y="5767"/>
                </a:lnTo>
                <a:lnTo>
                  <a:pt x="10658" y="5232"/>
                </a:lnTo>
                <a:lnTo>
                  <a:pt x="10585" y="4672"/>
                </a:lnTo>
                <a:lnTo>
                  <a:pt x="10512" y="4429"/>
                </a:lnTo>
                <a:lnTo>
                  <a:pt x="10463" y="4161"/>
                </a:lnTo>
                <a:lnTo>
                  <a:pt x="10366" y="3893"/>
                </a:lnTo>
                <a:lnTo>
                  <a:pt x="10268" y="3650"/>
                </a:lnTo>
                <a:lnTo>
                  <a:pt x="10147" y="3407"/>
                </a:lnTo>
                <a:lnTo>
                  <a:pt x="10001" y="3163"/>
                </a:lnTo>
                <a:lnTo>
                  <a:pt x="9879" y="2993"/>
                </a:lnTo>
                <a:lnTo>
                  <a:pt x="9733" y="2823"/>
                </a:lnTo>
                <a:lnTo>
                  <a:pt x="9587" y="2652"/>
                </a:lnTo>
                <a:lnTo>
                  <a:pt x="9417" y="2506"/>
                </a:lnTo>
                <a:lnTo>
                  <a:pt x="9052" y="2263"/>
                </a:lnTo>
                <a:lnTo>
                  <a:pt x="8662" y="2044"/>
                </a:lnTo>
                <a:lnTo>
                  <a:pt x="8273" y="1874"/>
                </a:lnTo>
                <a:lnTo>
                  <a:pt x="7835" y="1728"/>
                </a:lnTo>
                <a:lnTo>
                  <a:pt x="7397" y="1630"/>
                </a:lnTo>
                <a:lnTo>
                  <a:pt x="6959" y="1582"/>
                </a:lnTo>
                <a:lnTo>
                  <a:pt x="6521" y="1582"/>
                </a:lnTo>
                <a:lnTo>
                  <a:pt x="6083" y="1630"/>
                </a:lnTo>
                <a:lnTo>
                  <a:pt x="5670" y="1728"/>
                </a:lnTo>
                <a:lnTo>
                  <a:pt x="5232" y="1898"/>
                </a:lnTo>
                <a:lnTo>
                  <a:pt x="4842" y="2093"/>
                </a:lnTo>
                <a:lnTo>
                  <a:pt x="4477" y="2336"/>
                </a:lnTo>
                <a:lnTo>
                  <a:pt x="4307" y="2482"/>
                </a:lnTo>
                <a:lnTo>
                  <a:pt x="4161" y="2628"/>
                </a:lnTo>
                <a:lnTo>
                  <a:pt x="4015" y="2798"/>
                </a:lnTo>
                <a:lnTo>
                  <a:pt x="3869" y="2969"/>
                </a:lnTo>
                <a:lnTo>
                  <a:pt x="3723" y="3212"/>
                </a:lnTo>
                <a:lnTo>
                  <a:pt x="3577" y="3455"/>
                </a:lnTo>
                <a:lnTo>
                  <a:pt x="3455" y="3699"/>
                </a:lnTo>
                <a:lnTo>
                  <a:pt x="3358" y="3966"/>
                </a:lnTo>
                <a:lnTo>
                  <a:pt x="3261" y="4234"/>
                </a:lnTo>
                <a:lnTo>
                  <a:pt x="3188" y="4502"/>
                </a:lnTo>
                <a:lnTo>
                  <a:pt x="3090" y="5086"/>
                </a:lnTo>
                <a:lnTo>
                  <a:pt x="3017" y="5645"/>
                </a:lnTo>
                <a:lnTo>
                  <a:pt x="2993" y="6229"/>
                </a:lnTo>
                <a:lnTo>
                  <a:pt x="2969" y="6789"/>
                </a:lnTo>
                <a:lnTo>
                  <a:pt x="2993" y="7349"/>
                </a:lnTo>
                <a:lnTo>
                  <a:pt x="2993" y="7397"/>
                </a:lnTo>
                <a:lnTo>
                  <a:pt x="2385" y="7373"/>
                </a:lnTo>
                <a:lnTo>
                  <a:pt x="1776" y="7397"/>
                </a:lnTo>
                <a:lnTo>
                  <a:pt x="1801" y="7324"/>
                </a:lnTo>
                <a:lnTo>
                  <a:pt x="1825" y="7227"/>
                </a:lnTo>
                <a:lnTo>
                  <a:pt x="1752" y="6692"/>
                </a:lnTo>
                <a:lnTo>
                  <a:pt x="1752" y="6132"/>
                </a:lnTo>
                <a:lnTo>
                  <a:pt x="1801" y="5572"/>
                </a:lnTo>
                <a:lnTo>
                  <a:pt x="1874" y="5037"/>
                </a:lnTo>
                <a:lnTo>
                  <a:pt x="1995" y="4477"/>
                </a:lnTo>
                <a:lnTo>
                  <a:pt x="2141" y="3942"/>
                </a:lnTo>
                <a:lnTo>
                  <a:pt x="2336" y="3431"/>
                </a:lnTo>
                <a:lnTo>
                  <a:pt x="2555" y="2944"/>
                </a:lnTo>
                <a:lnTo>
                  <a:pt x="2701" y="2652"/>
                </a:lnTo>
                <a:lnTo>
                  <a:pt x="2871" y="2409"/>
                </a:lnTo>
                <a:lnTo>
                  <a:pt x="3066" y="2166"/>
                </a:lnTo>
                <a:lnTo>
                  <a:pt x="3261" y="1922"/>
                </a:lnTo>
                <a:lnTo>
                  <a:pt x="3455" y="1728"/>
                </a:lnTo>
                <a:lnTo>
                  <a:pt x="3699" y="1533"/>
                </a:lnTo>
                <a:lnTo>
                  <a:pt x="3918" y="1363"/>
                </a:lnTo>
                <a:lnTo>
                  <a:pt x="4185" y="1192"/>
                </a:lnTo>
                <a:lnTo>
                  <a:pt x="4429" y="1046"/>
                </a:lnTo>
                <a:lnTo>
                  <a:pt x="4696" y="925"/>
                </a:lnTo>
                <a:lnTo>
                  <a:pt x="4988" y="803"/>
                </a:lnTo>
                <a:lnTo>
                  <a:pt x="5280" y="706"/>
                </a:lnTo>
                <a:lnTo>
                  <a:pt x="5572" y="633"/>
                </a:lnTo>
                <a:lnTo>
                  <a:pt x="5864" y="560"/>
                </a:lnTo>
                <a:lnTo>
                  <a:pt x="6156" y="511"/>
                </a:lnTo>
                <a:lnTo>
                  <a:pt x="6473" y="487"/>
                </a:lnTo>
                <a:lnTo>
                  <a:pt x="6740" y="462"/>
                </a:lnTo>
                <a:close/>
                <a:moveTo>
                  <a:pt x="6838" y="2020"/>
                </a:moveTo>
                <a:lnTo>
                  <a:pt x="7251" y="2044"/>
                </a:lnTo>
                <a:lnTo>
                  <a:pt x="7665" y="2117"/>
                </a:lnTo>
                <a:lnTo>
                  <a:pt x="8054" y="2239"/>
                </a:lnTo>
                <a:lnTo>
                  <a:pt x="8443" y="2409"/>
                </a:lnTo>
                <a:lnTo>
                  <a:pt x="8808" y="2628"/>
                </a:lnTo>
                <a:lnTo>
                  <a:pt x="9149" y="2871"/>
                </a:lnTo>
                <a:lnTo>
                  <a:pt x="9441" y="3163"/>
                </a:lnTo>
                <a:lnTo>
                  <a:pt x="9587" y="3334"/>
                </a:lnTo>
                <a:lnTo>
                  <a:pt x="9709" y="3504"/>
                </a:lnTo>
                <a:lnTo>
                  <a:pt x="9830" y="3723"/>
                </a:lnTo>
                <a:lnTo>
                  <a:pt x="9928" y="3942"/>
                </a:lnTo>
                <a:lnTo>
                  <a:pt x="10025" y="4161"/>
                </a:lnTo>
                <a:lnTo>
                  <a:pt x="10098" y="4404"/>
                </a:lnTo>
                <a:lnTo>
                  <a:pt x="10195" y="4891"/>
                </a:lnTo>
                <a:lnTo>
                  <a:pt x="10244" y="5402"/>
                </a:lnTo>
                <a:lnTo>
                  <a:pt x="10268" y="5913"/>
                </a:lnTo>
                <a:lnTo>
                  <a:pt x="10268" y="6424"/>
                </a:lnTo>
                <a:lnTo>
                  <a:pt x="10268" y="7422"/>
                </a:lnTo>
                <a:lnTo>
                  <a:pt x="6862" y="7422"/>
                </a:lnTo>
                <a:lnTo>
                  <a:pt x="5402" y="7397"/>
                </a:lnTo>
                <a:lnTo>
                  <a:pt x="3309" y="7397"/>
                </a:lnTo>
                <a:lnTo>
                  <a:pt x="3382" y="6911"/>
                </a:lnTo>
                <a:lnTo>
                  <a:pt x="3455" y="6400"/>
                </a:lnTo>
                <a:lnTo>
                  <a:pt x="3528" y="5426"/>
                </a:lnTo>
                <a:lnTo>
                  <a:pt x="3577" y="4940"/>
                </a:lnTo>
                <a:lnTo>
                  <a:pt x="3674" y="4453"/>
                </a:lnTo>
                <a:lnTo>
                  <a:pt x="3747" y="4234"/>
                </a:lnTo>
                <a:lnTo>
                  <a:pt x="3820" y="3991"/>
                </a:lnTo>
                <a:lnTo>
                  <a:pt x="3918" y="3747"/>
                </a:lnTo>
                <a:lnTo>
                  <a:pt x="4039" y="3528"/>
                </a:lnTo>
                <a:lnTo>
                  <a:pt x="4137" y="3334"/>
                </a:lnTo>
                <a:lnTo>
                  <a:pt x="4258" y="3163"/>
                </a:lnTo>
                <a:lnTo>
                  <a:pt x="4404" y="3017"/>
                </a:lnTo>
                <a:lnTo>
                  <a:pt x="4550" y="2871"/>
                </a:lnTo>
                <a:lnTo>
                  <a:pt x="4696" y="2725"/>
                </a:lnTo>
                <a:lnTo>
                  <a:pt x="4867" y="2604"/>
                </a:lnTo>
                <a:lnTo>
                  <a:pt x="5232" y="2385"/>
                </a:lnTo>
                <a:lnTo>
                  <a:pt x="5597" y="2214"/>
                </a:lnTo>
                <a:lnTo>
                  <a:pt x="6010" y="2093"/>
                </a:lnTo>
                <a:lnTo>
                  <a:pt x="6424" y="2044"/>
                </a:lnTo>
                <a:lnTo>
                  <a:pt x="6838" y="2020"/>
                </a:lnTo>
                <a:close/>
                <a:moveTo>
                  <a:pt x="6984" y="11388"/>
                </a:moveTo>
                <a:lnTo>
                  <a:pt x="6497" y="11631"/>
                </a:lnTo>
                <a:lnTo>
                  <a:pt x="6302" y="11728"/>
                </a:lnTo>
                <a:lnTo>
                  <a:pt x="6083" y="11826"/>
                </a:lnTo>
                <a:lnTo>
                  <a:pt x="6083" y="11826"/>
                </a:lnTo>
                <a:lnTo>
                  <a:pt x="6132" y="11704"/>
                </a:lnTo>
                <a:lnTo>
                  <a:pt x="6205" y="11607"/>
                </a:lnTo>
                <a:lnTo>
                  <a:pt x="6302" y="11534"/>
                </a:lnTo>
                <a:lnTo>
                  <a:pt x="6400" y="11485"/>
                </a:lnTo>
                <a:lnTo>
                  <a:pt x="6497" y="11436"/>
                </a:lnTo>
                <a:lnTo>
                  <a:pt x="6740" y="11388"/>
                </a:lnTo>
                <a:close/>
                <a:moveTo>
                  <a:pt x="7762" y="11899"/>
                </a:moveTo>
                <a:lnTo>
                  <a:pt x="7811" y="12045"/>
                </a:lnTo>
                <a:lnTo>
                  <a:pt x="7835" y="12191"/>
                </a:lnTo>
                <a:lnTo>
                  <a:pt x="7835" y="12191"/>
                </a:lnTo>
                <a:lnTo>
                  <a:pt x="7787" y="12166"/>
                </a:lnTo>
                <a:lnTo>
                  <a:pt x="7738" y="12142"/>
                </a:lnTo>
                <a:lnTo>
                  <a:pt x="7592" y="12166"/>
                </a:lnTo>
                <a:lnTo>
                  <a:pt x="7470" y="12191"/>
                </a:lnTo>
                <a:lnTo>
                  <a:pt x="7470" y="12191"/>
                </a:lnTo>
                <a:lnTo>
                  <a:pt x="7616" y="12093"/>
                </a:lnTo>
                <a:lnTo>
                  <a:pt x="7714" y="11996"/>
                </a:lnTo>
                <a:lnTo>
                  <a:pt x="7762" y="11899"/>
                </a:lnTo>
                <a:close/>
                <a:moveTo>
                  <a:pt x="7422" y="11534"/>
                </a:moveTo>
                <a:lnTo>
                  <a:pt x="7519" y="11582"/>
                </a:lnTo>
                <a:lnTo>
                  <a:pt x="7592" y="11680"/>
                </a:lnTo>
                <a:lnTo>
                  <a:pt x="7543" y="11680"/>
                </a:lnTo>
                <a:lnTo>
                  <a:pt x="7251" y="11826"/>
                </a:lnTo>
                <a:lnTo>
                  <a:pt x="6935" y="11947"/>
                </a:lnTo>
                <a:lnTo>
                  <a:pt x="6351" y="12239"/>
                </a:lnTo>
                <a:lnTo>
                  <a:pt x="6132" y="12337"/>
                </a:lnTo>
                <a:lnTo>
                  <a:pt x="5986" y="12410"/>
                </a:lnTo>
                <a:lnTo>
                  <a:pt x="5864" y="12507"/>
                </a:lnTo>
                <a:lnTo>
                  <a:pt x="5864" y="12507"/>
                </a:lnTo>
                <a:lnTo>
                  <a:pt x="5889" y="12337"/>
                </a:lnTo>
                <a:lnTo>
                  <a:pt x="5913" y="12191"/>
                </a:lnTo>
                <a:lnTo>
                  <a:pt x="6059" y="12191"/>
                </a:lnTo>
                <a:lnTo>
                  <a:pt x="6205" y="12142"/>
                </a:lnTo>
                <a:lnTo>
                  <a:pt x="6473" y="12020"/>
                </a:lnTo>
                <a:lnTo>
                  <a:pt x="6911" y="11801"/>
                </a:lnTo>
                <a:lnTo>
                  <a:pt x="7349" y="11582"/>
                </a:lnTo>
                <a:lnTo>
                  <a:pt x="7422" y="11534"/>
                </a:lnTo>
                <a:close/>
                <a:moveTo>
                  <a:pt x="5864" y="12653"/>
                </a:moveTo>
                <a:lnTo>
                  <a:pt x="5937" y="12702"/>
                </a:lnTo>
                <a:lnTo>
                  <a:pt x="6059" y="12726"/>
                </a:lnTo>
                <a:lnTo>
                  <a:pt x="6205" y="12702"/>
                </a:lnTo>
                <a:lnTo>
                  <a:pt x="6327" y="12653"/>
                </a:lnTo>
                <a:lnTo>
                  <a:pt x="6132" y="12799"/>
                </a:lnTo>
                <a:lnTo>
                  <a:pt x="6059" y="12872"/>
                </a:lnTo>
                <a:lnTo>
                  <a:pt x="5986" y="12969"/>
                </a:lnTo>
                <a:lnTo>
                  <a:pt x="5986" y="12994"/>
                </a:lnTo>
                <a:lnTo>
                  <a:pt x="5937" y="12945"/>
                </a:lnTo>
                <a:lnTo>
                  <a:pt x="5889" y="12872"/>
                </a:lnTo>
                <a:lnTo>
                  <a:pt x="5864" y="12799"/>
                </a:lnTo>
                <a:lnTo>
                  <a:pt x="5864" y="12677"/>
                </a:lnTo>
                <a:lnTo>
                  <a:pt x="5864" y="12653"/>
                </a:lnTo>
                <a:close/>
                <a:moveTo>
                  <a:pt x="7811" y="12458"/>
                </a:moveTo>
                <a:lnTo>
                  <a:pt x="7738" y="12629"/>
                </a:lnTo>
                <a:lnTo>
                  <a:pt x="7641" y="12799"/>
                </a:lnTo>
                <a:lnTo>
                  <a:pt x="7623" y="12828"/>
                </a:lnTo>
                <a:lnTo>
                  <a:pt x="7623" y="12828"/>
                </a:lnTo>
                <a:lnTo>
                  <a:pt x="7641" y="12775"/>
                </a:lnTo>
                <a:lnTo>
                  <a:pt x="7641" y="12726"/>
                </a:lnTo>
                <a:lnTo>
                  <a:pt x="7592" y="12677"/>
                </a:lnTo>
                <a:lnTo>
                  <a:pt x="7519" y="12653"/>
                </a:lnTo>
                <a:lnTo>
                  <a:pt x="7446" y="12653"/>
                </a:lnTo>
                <a:lnTo>
                  <a:pt x="7349" y="12677"/>
                </a:lnTo>
                <a:lnTo>
                  <a:pt x="7178" y="12726"/>
                </a:lnTo>
                <a:lnTo>
                  <a:pt x="6862" y="12921"/>
                </a:lnTo>
                <a:lnTo>
                  <a:pt x="6521" y="13140"/>
                </a:lnTo>
                <a:lnTo>
                  <a:pt x="6351" y="13237"/>
                </a:lnTo>
                <a:lnTo>
                  <a:pt x="6327" y="13213"/>
                </a:lnTo>
                <a:lnTo>
                  <a:pt x="6059" y="13067"/>
                </a:lnTo>
                <a:lnTo>
                  <a:pt x="6229" y="13067"/>
                </a:lnTo>
                <a:lnTo>
                  <a:pt x="6375" y="13018"/>
                </a:lnTo>
                <a:lnTo>
                  <a:pt x="6546" y="12969"/>
                </a:lnTo>
                <a:lnTo>
                  <a:pt x="6692" y="12896"/>
                </a:lnTo>
                <a:lnTo>
                  <a:pt x="6959" y="12775"/>
                </a:lnTo>
                <a:lnTo>
                  <a:pt x="7227" y="12677"/>
                </a:lnTo>
                <a:lnTo>
                  <a:pt x="7762" y="12483"/>
                </a:lnTo>
                <a:lnTo>
                  <a:pt x="7811" y="12458"/>
                </a:lnTo>
                <a:close/>
                <a:moveTo>
                  <a:pt x="7602" y="12862"/>
                </a:moveTo>
                <a:lnTo>
                  <a:pt x="7446" y="13115"/>
                </a:lnTo>
                <a:lnTo>
                  <a:pt x="7397" y="13115"/>
                </a:lnTo>
                <a:lnTo>
                  <a:pt x="7349" y="13140"/>
                </a:lnTo>
                <a:lnTo>
                  <a:pt x="7300" y="13164"/>
                </a:lnTo>
                <a:lnTo>
                  <a:pt x="7276" y="13213"/>
                </a:lnTo>
                <a:lnTo>
                  <a:pt x="7276" y="13261"/>
                </a:lnTo>
                <a:lnTo>
                  <a:pt x="7227" y="13237"/>
                </a:lnTo>
                <a:lnTo>
                  <a:pt x="7057" y="13237"/>
                </a:lnTo>
                <a:lnTo>
                  <a:pt x="6959" y="13286"/>
                </a:lnTo>
                <a:lnTo>
                  <a:pt x="6765" y="13383"/>
                </a:lnTo>
                <a:lnTo>
                  <a:pt x="6546" y="13505"/>
                </a:lnTo>
                <a:lnTo>
                  <a:pt x="6327" y="13602"/>
                </a:lnTo>
                <a:lnTo>
                  <a:pt x="6302" y="13407"/>
                </a:lnTo>
                <a:lnTo>
                  <a:pt x="6448" y="13407"/>
                </a:lnTo>
                <a:lnTo>
                  <a:pt x="6594" y="13383"/>
                </a:lnTo>
                <a:lnTo>
                  <a:pt x="6740" y="13334"/>
                </a:lnTo>
                <a:lnTo>
                  <a:pt x="6862" y="13261"/>
                </a:lnTo>
                <a:lnTo>
                  <a:pt x="7276" y="13091"/>
                </a:lnTo>
                <a:lnTo>
                  <a:pt x="7470" y="12994"/>
                </a:lnTo>
                <a:lnTo>
                  <a:pt x="7543" y="12921"/>
                </a:lnTo>
                <a:lnTo>
                  <a:pt x="7602" y="12862"/>
                </a:lnTo>
                <a:close/>
                <a:moveTo>
                  <a:pt x="7276" y="13529"/>
                </a:moveTo>
                <a:lnTo>
                  <a:pt x="7276" y="13797"/>
                </a:lnTo>
                <a:lnTo>
                  <a:pt x="7203" y="13772"/>
                </a:lnTo>
                <a:lnTo>
                  <a:pt x="7130" y="13797"/>
                </a:lnTo>
                <a:lnTo>
                  <a:pt x="6959" y="13845"/>
                </a:lnTo>
                <a:lnTo>
                  <a:pt x="6667" y="13991"/>
                </a:lnTo>
                <a:lnTo>
                  <a:pt x="6473" y="14113"/>
                </a:lnTo>
                <a:lnTo>
                  <a:pt x="6302" y="14259"/>
                </a:lnTo>
                <a:lnTo>
                  <a:pt x="6327" y="13870"/>
                </a:lnTo>
                <a:lnTo>
                  <a:pt x="6570" y="13870"/>
                </a:lnTo>
                <a:lnTo>
                  <a:pt x="6692" y="13821"/>
                </a:lnTo>
                <a:lnTo>
                  <a:pt x="6789" y="13772"/>
                </a:lnTo>
                <a:lnTo>
                  <a:pt x="7032" y="13675"/>
                </a:lnTo>
                <a:lnTo>
                  <a:pt x="7154" y="13602"/>
                </a:lnTo>
                <a:lnTo>
                  <a:pt x="7276" y="13529"/>
                </a:lnTo>
                <a:close/>
                <a:moveTo>
                  <a:pt x="7276" y="14819"/>
                </a:moveTo>
                <a:lnTo>
                  <a:pt x="7276" y="14989"/>
                </a:lnTo>
                <a:lnTo>
                  <a:pt x="6889" y="15012"/>
                </a:lnTo>
                <a:lnTo>
                  <a:pt x="6889" y="15012"/>
                </a:lnTo>
                <a:lnTo>
                  <a:pt x="7081" y="14916"/>
                </a:lnTo>
                <a:lnTo>
                  <a:pt x="7276" y="14819"/>
                </a:lnTo>
                <a:close/>
                <a:moveTo>
                  <a:pt x="7300" y="14089"/>
                </a:moveTo>
                <a:lnTo>
                  <a:pt x="7300" y="14162"/>
                </a:lnTo>
                <a:lnTo>
                  <a:pt x="7300" y="14210"/>
                </a:lnTo>
                <a:lnTo>
                  <a:pt x="7227" y="14186"/>
                </a:lnTo>
                <a:lnTo>
                  <a:pt x="7154" y="14210"/>
                </a:lnTo>
                <a:lnTo>
                  <a:pt x="6911" y="14332"/>
                </a:lnTo>
                <a:lnTo>
                  <a:pt x="6692" y="14502"/>
                </a:lnTo>
                <a:lnTo>
                  <a:pt x="6594" y="14575"/>
                </a:lnTo>
                <a:lnTo>
                  <a:pt x="6497" y="14673"/>
                </a:lnTo>
                <a:lnTo>
                  <a:pt x="6400" y="14770"/>
                </a:lnTo>
                <a:lnTo>
                  <a:pt x="6278" y="14843"/>
                </a:lnTo>
                <a:lnTo>
                  <a:pt x="6278" y="14867"/>
                </a:lnTo>
                <a:lnTo>
                  <a:pt x="6278" y="14892"/>
                </a:lnTo>
                <a:lnTo>
                  <a:pt x="6302" y="14892"/>
                </a:lnTo>
                <a:lnTo>
                  <a:pt x="6546" y="14867"/>
                </a:lnTo>
                <a:lnTo>
                  <a:pt x="6667" y="14843"/>
                </a:lnTo>
                <a:lnTo>
                  <a:pt x="6789" y="14794"/>
                </a:lnTo>
                <a:lnTo>
                  <a:pt x="7300" y="14527"/>
                </a:lnTo>
                <a:lnTo>
                  <a:pt x="7300" y="14551"/>
                </a:lnTo>
                <a:lnTo>
                  <a:pt x="7276" y="14551"/>
                </a:lnTo>
                <a:lnTo>
                  <a:pt x="7130" y="14624"/>
                </a:lnTo>
                <a:lnTo>
                  <a:pt x="7032" y="14697"/>
                </a:lnTo>
                <a:lnTo>
                  <a:pt x="6813" y="14867"/>
                </a:lnTo>
                <a:lnTo>
                  <a:pt x="6789" y="14916"/>
                </a:lnTo>
                <a:lnTo>
                  <a:pt x="6789" y="14965"/>
                </a:lnTo>
                <a:lnTo>
                  <a:pt x="6813" y="14989"/>
                </a:lnTo>
                <a:lnTo>
                  <a:pt x="6838" y="15013"/>
                </a:lnTo>
                <a:lnTo>
                  <a:pt x="6229" y="15013"/>
                </a:lnTo>
                <a:lnTo>
                  <a:pt x="6254" y="14746"/>
                </a:lnTo>
                <a:lnTo>
                  <a:pt x="6278" y="14502"/>
                </a:lnTo>
                <a:lnTo>
                  <a:pt x="6400" y="14478"/>
                </a:lnTo>
                <a:lnTo>
                  <a:pt x="6521" y="14454"/>
                </a:lnTo>
                <a:lnTo>
                  <a:pt x="6765" y="14332"/>
                </a:lnTo>
                <a:lnTo>
                  <a:pt x="7130" y="14186"/>
                </a:lnTo>
                <a:lnTo>
                  <a:pt x="7300" y="14089"/>
                </a:lnTo>
                <a:close/>
                <a:moveTo>
                  <a:pt x="6838" y="10925"/>
                </a:moveTo>
                <a:lnTo>
                  <a:pt x="6594" y="10950"/>
                </a:lnTo>
                <a:lnTo>
                  <a:pt x="6351" y="11023"/>
                </a:lnTo>
                <a:lnTo>
                  <a:pt x="6132" y="11144"/>
                </a:lnTo>
                <a:lnTo>
                  <a:pt x="5913" y="11290"/>
                </a:lnTo>
                <a:lnTo>
                  <a:pt x="5791" y="11436"/>
                </a:lnTo>
                <a:lnTo>
                  <a:pt x="5670" y="11607"/>
                </a:lnTo>
                <a:lnTo>
                  <a:pt x="5597" y="11801"/>
                </a:lnTo>
                <a:lnTo>
                  <a:pt x="5524" y="11996"/>
                </a:lnTo>
                <a:lnTo>
                  <a:pt x="5475" y="12191"/>
                </a:lnTo>
                <a:lnTo>
                  <a:pt x="5426" y="12410"/>
                </a:lnTo>
                <a:lnTo>
                  <a:pt x="5426" y="12604"/>
                </a:lnTo>
                <a:lnTo>
                  <a:pt x="5451" y="12799"/>
                </a:lnTo>
                <a:lnTo>
                  <a:pt x="5475" y="12921"/>
                </a:lnTo>
                <a:lnTo>
                  <a:pt x="5499" y="13042"/>
                </a:lnTo>
                <a:lnTo>
                  <a:pt x="5572" y="13140"/>
                </a:lnTo>
                <a:lnTo>
                  <a:pt x="5645" y="13237"/>
                </a:lnTo>
                <a:lnTo>
                  <a:pt x="5718" y="13334"/>
                </a:lnTo>
                <a:lnTo>
                  <a:pt x="5816" y="13383"/>
                </a:lnTo>
                <a:lnTo>
                  <a:pt x="5889" y="13456"/>
                </a:lnTo>
                <a:lnTo>
                  <a:pt x="6010" y="13480"/>
                </a:lnTo>
                <a:lnTo>
                  <a:pt x="5962" y="13675"/>
                </a:lnTo>
                <a:lnTo>
                  <a:pt x="5937" y="13894"/>
                </a:lnTo>
                <a:lnTo>
                  <a:pt x="5913" y="14332"/>
                </a:lnTo>
                <a:lnTo>
                  <a:pt x="5816" y="14794"/>
                </a:lnTo>
                <a:lnTo>
                  <a:pt x="5816" y="15038"/>
                </a:lnTo>
                <a:lnTo>
                  <a:pt x="5816" y="15159"/>
                </a:lnTo>
                <a:lnTo>
                  <a:pt x="5840" y="15281"/>
                </a:lnTo>
                <a:lnTo>
                  <a:pt x="5889" y="15330"/>
                </a:lnTo>
                <a:lnTo>
                  <a:pt x="5962" y="15378"/>
                </a:lnTo>
                <a:lnTo>
                  <a:pt x="6035" y="15403"/>
                </a:lnTo>
                <a:lnTo>
                  <a:pt x="6108" y="15378"/>
                </a:lnTo>
                <a:lnTo>
                  <a:pt x="6254" y="15403"/>
                </a:lnTo>
                <a:lnTo>
                  <a:pt x="6424" y="15427"/>
                </a:lnTo>
                <a:lnTo>
                  <a:pt x="6789" y="15427"/>
                </a:lnTo>
                <a:lnTo>
                  <a:pt x="7130" y="15403"/>
                </a:lnTo>
                <a:lnTo>
                  <a:pt x="7470" y="15378"/>
                </a:lnTo>
                <a:lnTo>
                  <a:pt x="7543" y="15354"/>
                </a:lnTo>
                <a:lnTo>
                  <a:pt x="7592" y="15330"/>
                </a:lnTo>
                <a:lnTo>
                  <a:pt x="7616" y="15281"/>
                </a:lnTo>
                <a:lnTo>
                  <a:pt x="7665" y="15232"/>
                </a:lnTo>
                <a:lnTo>
                  <a:pt x="7665" y="15159"/>
                </a:lnTo>
                <a:lnTo>
                  <a:pt x="7665" y="15111"/>
                </a:lnTo>
                <a:lnTo>
                  <a:pt x="7689" y="14308"/>
                </a:lnTo>
                <a:lnTo>
                  <a:pt x="7689" y="13894"/>
                </a:lnTo>
                <a:lnTo>
                  <a:pt x="7665" y="13699"/>
                </a:lnTo>
                <a:lnTo>
                  <a:pt x="7616" y="13505"/>
                </a:lnTo>
                <a:lnTo>
                  <a:pt x="7714" y="13456"/>
                </a:lnTo>
                <a:lnTo>
                  <a:pt x="7787" y="13407"/>
                </a:lnTo>
                <a:lnTo>
                  <a:pt x="7932" y="13164"/>
                </a:lnTo>
                <a:lnTo>
                  <a:pt x="8103" y="12896"/>
                </a:lnTo>
                <a:lnTo>
                  <a:pt x="8224" y="12629"/>
                </a:lnTo>
                <a:lnTo>
                  <a:pt x="8249" y="12483"/>
                </a:lnTo>
                <a:lnTo>
                  <a:pt x="8273" y="12337"/>
                </a:lnTo>
                <a:lnTo>
                  <a:pt x="8273" y="12191"/>
                </a:lnTo>
                <a:lnTo>
                  <a:pt x="8249" y="12020"/>
                </a:lnTo>
                <a:lnTo>
                  <a:pt x="8224" y="11874"/>
                </a:lnTo>
                <a:lnTo>
                  <a:pt x="8151" y="11728"/>
                </a:lnTo>
                <a:lnTo>
                  <a:pt x="8103" y="11607"/>
                </a:lnTo>
                <a:lnTo>
                  <a:pt x="8005" y="11485"/>
                </a:lnTo>
                <a:lnTo>
                  <a:pt x="7908" y="11363"/>
                </a:lnTo>
                <a:lnTo>
                  <a:pt x="7787" y="11242"/>
                </a:lnTo>
                <a:lnTo>
                  <a:pt x="7592" y="11120"/>
                </a:lnTo>
                <a:lnTo>
                  <a:pt x="7349" y="10998"/>
                </a:lnTo>
                <a:lnTo>
                  <a:pt x="7105" y="10950"/>
                </a:lnTo>
                <a:lnTo>
                  <a:pt x="6838" y="10925"/>
                </a:lnTo>
                <a:close/>
                <a:moveTo>
                  <a:pt x="12726" y="7811"/>
                </a:moveTo>
                <a:lnTo>
                  <a:pt x="12872" y="7860"/>
                </a:lnTo>
                <a:lnTo>
                  <a:pt x="12921" y="7884"/>
                </a:lnTo>
                <a:lnTo>
                  <a:pt x="12969" y="7933"/>
                </a:lnTo>
                <a:lnTo>
                  <a:pt x="12994" y="7981"/>
                </a:lnTo>
                <a:lnTo>
                  <a:pt x="13018" y="8078"/>
                </a:lnTo>
                <a:lnTo>
                  <a:pt x="13018" y="8103"/>
                </a:lnTo>
                <a:lnTo>
                  <a:pt x="12069" y="8103"/>
                </a:lnTo>
                <a:lnTo>
                  <a:pt x="11607" y="8151"/>
                </a:lnTo>
                <a:lnTo>
                  <a:pt x="11144" y="8200"/>
                </a:lnTo>
                <a:lnTo>
                  <a:pt x="10390" y="8200"/>
                </a:lnTo>
                <a:lnTo>
                  <a:pt x="10195" y="8224"/>
                </a:lnTo>
                <a:lnTo>
                  <a:pt x="10025" y="8273"/>
                </a:lnTo>
                <a:lnTo>
                  <a:pt x="9879" y="8346"/>
                </a:lnTo>
                <a:lnTo>
                  <a:pt x="9806" y="8395"/>
                </a:lnTo>
                <a:lnTo>
                  <a:pt x="9782" y="8443"/>
                </a:lnTo>
                <a:lnTo>
                  <a:pt x="9782" y="8492"/>
                </a:lnTo>
                <a:lnTo>
                  <a:pt x="9806" y="8541"/>
                </a:lnTo>
                <a:lnTo>
                  <a:pt x="9903" y="8589"/>
                </a:lnTo>
                <a:lnTo>
                  <a:pt x="11193" y="8589"/>
                </a:lnTo>
                <a:lnTo>
                  <a:pt x="11655" y="8565"/>
                </a:lnTo>
                <a:lnTo>
                  <a:pt x="12118" y="8589"/>
                </a:lnTo>
                <a:lnTo>
                  <a:pt x="12580" y="8589"/>
                </a:lnTo>
                <a:lnTo>
                  <a:pt x="12799" y="8565"/>
                </a:lnTo>
                <a:lnTo>
                  <a:pt x="13042" y="8541"/>
                </a:lnTo>
                <a:lnTo>
                  <a:pt x="13042" y="8735"/>
                </a:lnTo>
                <a:lnTo>
                  <a:pt x="13042" y="8979"/>
                </a:lnTo>
                <a:lnTo>
                  <a:pt x="12264" y="8979"/>
                </a:lnTo>
                <a:lnTo>
                  <a:pt x="11485" y="9003"/>
                </a:lnTo>
                <a:lnTo>
                  <a:pt x="11096" y="9027"/>
                </a:lnTo>
                <a:lnTo>
                  <a:pt x="10706" y="9052"/>
                </a:lnTo>
                <a:lnTo>
                  <a:pt x="10341" y="9125"/>
                </a:lnTo>
                <a:lnTo>
                  <a:pt x="10147" y="9173"/>
                </a:lnTo>
                <a:lnTo>
                  <a:pt x="9976" y="9246"/>
                </a:lnTo>
                <a:lnTo>
                  <a:pt x="9952" y="9295"/>
                </a:lnTo>
                <a:lnTo>
                  <a:pt x="9928" y="9344"/>
                </a:lnTo>
                <a:lnTo>
                  <a:pt x="9952" y="9392"/>
                </a:lnTo>
                <a:lnTo>
                  <a:pt x="10001" y="9417"/>
                </a:lnTo>
                <a:lnTo>
                  <a:pt x="10171" y="9441"/>
                </a:lnTo>
                <a:lnTo>
                  <a:pt x="10731" y="9441"/>
                </a:lnTo>
                <a:lnTo>
                  <a:pt x="11485" y="9368"/>
                </a:lnTo>
                <a:lnTo>
                  <a:pt x="12264" y="9368"/>
                </a:lnTo>
                <a:lnTo>
                  <a:pt x="13042" y="9344"/>
                </a:lnTo>
                <a:lnTo>
                  <a:pt x="13067" y="9733"/>
                </a:lnTo>
                <a:lnTo>
                  <a:pt x="12994" y="9684"/>
                </a:lnTo>
                <a:lnTo>
                  <a:pt x="12921" y="9660"/>
                </a:lnTo>
                <a:lnTo>
                  <a:pt x="12118" y="9709"/>
                </a:lnTo>
                <a:lnTo>
                  <a:pt x="11290" y="9757"/>
                </a:lnTo>
                <a:lnTo>
                  <a:pt x="10950" y="9782"/>
                </a:lnTo>
                <a:lnTo>
                  <a:pt x="10366" y="9782"/>
                </a:lnTo>
                <a:lnTo>
                  <a:pt x="10195" y="9830"/>
                </a:lnTo>
                <a:lnTo>
                  <a:pt x="10001" y="9879"/>
                </a:lnTo>
                <a:lnTo>
                  <a:pt x="9855" y="9952"/>
                </a:lnTo>
                <a:lnTo>
                  <a:pt x="9830" y="9976"/>
                </a:lnTo>
                <a:lnTo>
                  <a:pt x="9830" y="10001"/>
                </a:lnTo>
                <a:lnTo>
                  <a:pt x="9830" y="10049"/>
                </a:lnTo>
                <a:lnTo>
                  <a:pt x="9855" y="10074"/>
                </a:lnTo>
                <a:lnTo>
                  <a:pt x="10001" y="10147"/>
                </a:lnTo>
                <a:lnTo>
                  <a:pt x="10171" y="10195"/>
                </a:lnTo>
                <a:lnTo>
                  <a:pt x="10366" y="10220"/>
                </a:lnTo>
                <a:lnTo>
                  <a:pt x="10560" y="10220"/>
                </a:lnTo>
                <a:lnTo>
                  <a:pt x="10950" y="10195"/>
                </a:lnTo>
                <a:lnTo>
                  <a:pt x="11290" y="10171"/>
                </a:lnTo>
                <a:lnTo>
                  <a:pt x="12118" y="10122"/>
                </a:lnTo>
                <a:lnTo>
                  <a:pt x="12921" y="10098"/>
                </a:lnTo>
                <a:lnTo>
                  <a:pt x="13018" y="10074"/>
                </a:lnTo>
                <a:lnTo>
                  <a:pt x="13091" y="10001"/>
                </a:lnTo>
                <a:lnTo>
                  <a:pt x="13091" y="10390"/>
                </a:lnTo>
                <a:lnTo>
                  <a:pt x="13091" y="10633"/>
                </a:lnTo>
                <a:lnTo>
                  <a:pt x="12921" y="10609"/>
                </a:lnTo>
                <a:lnTo>
                  <a:pt x="12775" y="10585"/>
                </a:lnTo>
                <a:lnTo>
                  <a:pt x="12410" y="10585"/>
                </a:lnTo>
                <a:lnTo>
                  <a:pt x="12069" y="10609"/>
                </a:lnTo>
                <a:lnTo>
                  <a:pt x="11728" y="10609"/>
                </a:lnTo>
                <a:lnTo>
                  <a:pt x="11266" y="10585"/>
                </a:lnTo>
                <a:lnTo>
                  <a:pt x="10779" y="10560"/>
                </a:lnTo>
                <a:lnTo>
                  <a:pt x="10536" y="10585"/>
                </a:lnTo>
                <a:lnTo>
                  <a:pt x="10317" y="10633"/>
                </a:lnTo>
                <a:lnTo>
                  <a:pt x="10098" y="10706"/>
                </a:lnTo>
                <a:lnTo>
                  <a:pt x="9903" y="10828"/>
                </a:lnTo>
                <a:lnTo>
                  <a:pt x="9903" y="10852"/>
                </a:lnTo>
                <a:lnTo>
                  <a:pt x="9928" y="10877"/>
                </a:lnTo>
                <a:lnTo>
                  <a:pt x="10147" y="10950"/>
                </a:lnTo>
                <a:lnTo>
                  <a:pt x="10390" y="10974"/>
                </a:lnTo>
                <a:lnTo>
                  <a:pt x="10901" y="10998"/>
                </a:lnTo>
                <a:lnTo>
                  <a:pt x="11899" y="10998"/>
                </a:lnTo>
                <a:lnTo>
                  <a:pt x="12483" y="11047"/>
                </a:lnTo>
                <a:lnTo>
                  <a:pt x="12799" y="11047"/>
                </a:lnTo>
                <a:lnTo>
                  <a:pt x="13091" y="10998"/>
                </a:lnTo>
                <a:lnTo>
                  <a:pt x="13067" y="11363"/>
                </a:lnTo>
                <a:lnTo>
                  <a:pt x="12239" y="11388"/>
                </a:lnTo>
                <a:lnTo>
                  <a:pt x="11412" y="11461"/>
                </a:lnTo>
                <a:lnTo>
                  <a:pt x="11071" y="11485"/>
                </a:lnTo>
                <a:lnTo>
                  <a:pt x="10682" y="11509"/>
                </a:lnTo>
                <a:lnTo>
                  <a:pt x="10487" y="11534"/>
                </a:lnTo>
                <a:lnTo>
                  <a:pt x="10293" y="11558"/>
                </a:lnTo>
                <a:lnTo>
                  <a:pt x="10122" y="11607"/>
                </a:lnTo>
                <a:lnTo>
                  <a:pt x="9976" y="11680"/>
                </a:lnTo>
                <a:lnTo>
                  <a:pt x="9952" y="11704"/>
                </a:lnTo>
                <a:lnTo>
                  <a:pt x="9952" y="11728"/>
                </a:lnTo>
                <a:lnTo>
                  <a:pt x="9952" y="11753"/>
                </a:lnTo>
                <a:lnTo>
                  <a:pt x="9976" y="11777"/>
                </a:lnTo>
                <a:lnTo>
                  <a:pt x="10122" y="11850"/>
                </a:lnTo>
                <a:lnTo>
                  <a:pt x="10317" y="11874"/>
                </a:lnTo>
                <a:lnTo>
                  <a:pt x="10487" y="11899"/>
                </a:lnTo>
                <a:lnTo>
                  <a:pt x="10682" y="11899"/>
                </a:lnTo>
                <a:lnTo>
                  <a:pt x="11071" y="11874"/>
                </a:lnTo>
                <a:lnTo>
                  <a:pt x="11412" y="11826"/>
                </a:lnTo>
                <a:lnTo>
                  <a:pt x="12239" y="11777"/>
                </a:lnTo>
                <a:lnTo>
                  <a:pt x="13067" y="11728"/>
                </a:lnTo>
                <a:lnTo>
                  <a:pt x="13042" y="12312"/>
                </a:lnTo>
                <a:lnTo>
                  <a:pt x="12848" y="12264"/>
                </a:lnTo>
                <a:lnTo>
                  <a:pt x="12264" y="12264"/>
                </a:lnTo>
                <a:lnTo>
                  <a:pt x="11874" y="12288"/>
                </a:lnTo>
                <a:lnTo>
                  <a:pt x="11509" y="12312"/>
                </a:lnTo>
                <a:lnTo>
                  <a:pt x="11120" y="12312"/>
                </a:lnTo>
                <a:lnTo>
                  <a:pt x="10706" y="12288"/>
                </a:lnTo>
                <a:lnTo>
                  <a:pt x="10512" y="12312"/>
                </a:lnTo>
                <a:lnTo>
                  <a:pt x="10317" y="12337"/>
                </a:lnTo>
                <a:lnTo>
                  <a:pt x="10147" y="12385"/>
                </a:lnTo>
                <a:lnTo>
                  <a:pt x="9976" y="12483"/>
                </a:lnTo>
                <a:lnTo>
                  <a:pt x="9952" y="12507"/>
                </a:lnTo>
                <a:lnTo>
                  <a:pt x="9976" y="12531"/>
                </a:lnTo>
                <a:lnTo>
                  <a:pt x="10122" y="12629"/>
                </a:lnTo>
                <a:lnTo>
                  <a:pt x="10317" y="12677"/>
                </a:lnTo>
                <a:lnTo>
                  <a:pt x="10512" y="12726"/>
                </a:lnTo>
                <a:lnTo>
                  <a:pt x="11120" y="12726"/>
                </a:lnTo>
                <a:lnTo>
                  <a:pt x="11509" y="12702"/>
                </a:lnTo>
                <a:lnTo>
                  <a:pt x="12264" y="12726"/>
                </a:lnTo>
                <a:lnTo>
                  <a:pt x="12653" y="12702"/>
                </a:lnTo>
                <a:lnTo>
                  <a:pt x="12823" y="12677"/>
                </a:lnTo>
                <a:lnTo>
                  <a:pt x="13018" y="12653"/>
                </a:lnTo>
                <a:lnTo>
                  <a:pt x="12994" y="12848"/>
                </a:lnTo>
                <a:lnTo>
                  <a:pt x="12994" y="13164"/>
                </a:lnTo>
                <a:lnTo>
                  <a:pt x="12629" y="13115"/>
                </a:lnTo>
                <a:lnTo>
                  <a:pt x="12264" y="13115"/>
                </a:lnTo>
                <a:lnTo>
                  <a:pt x="11534" y="13164"/>
                </a:lnTo>
                <a:lnTo>
                  <a:pt x="11144" y="13164"/>
                </a:lnTo>
                <a:lnTo>
                  <a:pt x="10755" y="13188"/>
                </a:lnTo>
                <a:lnTo>
                  <a:pt x="10341" y="13213"/>
                </a:lnTo>
                <a:lnTo>
                  <a:pt x="10171" y="13261"/>
                </a:lnTo>
                <a:lnTo>
                  <a:pt x="9976" y="13310"/>
                </a:lnTo>
                <a:lnTo>
                  <a:pt x="9952" y="13334"/>
                </a:lnTo>
                <a:lnTo>
                  <a:pt x="9976" y="13383"/>
                </a:lnTo>
                <a:lnTo>
                  <a:pt x="10122" y="13480"/>
                </a:lnTo>
                <a:lnTo>
                  <a:pt x="10293" y="13529"/>
                </a:lnTo>
                <a:lnTo>
                  <a:pt x="10463" y="13578"/>
                </a:lnTo>
                <a:lnTo>
                  <a:pt x="11023" y="13578"/>
                </a:lnTo>
                <a:lnTo>
                  <a:pt x="11363" y="13553"/>
                </a:lnTo>
                <a:lnTo>
                  <a:pt x="12166" y="13505"/>
                </a:lnTo>
                <a:lnTo>
                  <a:pt x="12580" y="13505"/>
                </a:lnTo>
                <a:lnTo>
                  <a:pt x="12969" y="13529"/>
                </a:lnTo>
                <a:lnTo>
                  <a:pt x="12945" y="14210"/>
                </a:lnTo>
                <a:lnTo>
                  <a:pt x="12775" y="14137"/>
                </a:lnTo>
                <a:lnTo>
                  <a:pt x="12580" y="14089"/>
                </a:lnTo>
                <a:lnTo>
                  <a:pt x="12385" y="14064"/>
                </a:lnTo>
                <a:lnTo>
                  <a:pt x="11753" y="14064"/>
                </a:lnTo>
                <a:lnTo>
                  <a:pt x="11388" y="14089"/>
                </a:lnTo>
                <a:lnTo>
                  <a:pt x="10852" y="14137"/>
                </a:lnTo>
                <a:lnTo>
                  <a:pt x="10317" y="14162"/>
                </a:lnTo>
                <a:lnTo>
                  <a:pt x="10001" y="14186"/>
                </a:lnTo>
                <a:lnTo>
                  <a:pt x="9830" y="14235"/>
                </a:lnTo>
                <a:lnTo>
                  <a:pt x="9782" y="14259"/>
                </a:lnTo>
                <a:lnTo>
                  <a:pt x="9709" y="14308"/>
                </a:lnTo>
                <a:lnTo>
                  <a:pt x="9684" y="14332"/>
                </a:lnTo>
                <a:lnTo>
                  <a:pt x="9684" y="14381"/>
                </a:lnTo>
                <a:lnTo>
                  <a:pt x="9684" y="14429"/>
                </a:lnTo>
                <a:lnTo>
                  <a:pt x="9709" y="14478"/>
                </a:lnTo>
                <a:lnTo>
                  <a:pt x="9782" y="14527"/>
                </a:lnTo>
                <a:lnTo>
                  <a:pt x="9830" y="14551"/>
                </a:lnTo>
                <a:lnTo>
                  <a:pt x="10001" y="14600"/>
                </a:lnTo>
                <a:lnTo>
                  <a:pt x="10414" y="14600"/>
                </a:lnTo>
                <a:lnTo>
                  <a:pt x="10828" y="14551"/>
                </a:lnTo>
                <a:lnTo>
                  <a:pt x="11144" y="14527"/>
                </a:lnTo>
                <a:lnTo>
                  <a:pt x="11558" y="14502"/>
                </a:lnTo>
                <a:lnTo>
                  <a:pt x="11996" y="14454"/>
                </a:lnTo>
                <a:lnTo>
                  <a:pt x="12215" y="14478"/>
                </a:lnTo>
                <a:lnTo>
                  <a:pt x="12434" y="14478"/>
                </a:lnTo>
                <a:lnTo>
                  <a:pt x="12629" y="14527"/>
                </a:lnTo>
                <a:lnTo>
                  <a:pt x="12823" y="14600"/>
                </a:lnTo>
                <a:lnTo>
                  <a:pt x="12872" y="14624"/>
                </a:lnTo>
                <a:lnTo>
                  <a:pt x="12945" y="14624"/>
                </a:lnTo>
                <a:lnTo>
                  <a:pt x="12945" y="15062"/>
                </a:lnTo>
                <a:lnTo>
                  <a:pt x="12872" y="14989"/>
                </a:lnTo>
                <a:lnTo>
                  <a:pt x="12848" y="14965"/>
                </a:lnTo>
                <a:lnTo>
                  <a:pt x="12799" y="14940"/>
                </a:lnTo>
                <a:lnTo>
                  <a:pt x="12483" y="14916"/>
                </a:lnTo>
                <a:lnTo>
                  <a:pt x="12142" y="14892"/>
                </a:lnTo>
                <a:lnTo>
                  <a:pt x="11461" y="14916"/>
                </a:lnTo>
                <a:lnTo>
                  <a:pt x="10706" y="14940"/>
                </a:lnTo>
                <a:lnTo>
                  <a:pt x="10317" y="14965"/>
                </a:lnTo>
                <a:lnTo>
                  <a:pt x="9952" y="15013"/>
                </a:lnTo>
                <a:lnTo>
                  <a:pt x="9903" y="15038"/>
                </a:lnTo>
                <a:lnTo>
                  <a:pt x="9855" y="15086"/>
                </a:lnTo>
                <a:lnTo>
                  <a:pt x="9830" y="15135"/>
                </a:lnTo>
                <a:lnTo>
                  <a:pt x="9830" y="15208"/>
                </a:lnTo>
                <a:lnTo>
                  <a:pt x="9830" y="15257"/>
                </a:lnTo>
                <a:lnTo>
                  <a:pt x="9855" y="15305"/>
                </a:lnTo>
                <a:lnTo>
                  <a:pt x="9903" y="15354"/>
                </a:lnTo>
                <a:lnTo>
                  <a:pt x="9952" y="15378"/>
                </a:lnTo>
                <a:lnTo>
                  <a:pt x="10293" y="15403"/>
                </a:lnTo>
                <a:lnTo>
                  <a:pt x="10633" y="15403"/>
                </a:lnTo>
                <a:lnTo>
                  <a:pt x="11315" y="15378"/>
                </a:lnTo>
                <a:lnTo>
                  <a:pt x="12045" y="15354"/>
                </a:lnTo>
                <a:lnTo>
                  <a:pt x="12750" y="15330"/>
                </a:lnTo>
                <a:lnTo>
                  <a:pt x="12848" y="15305"/>
                </a:lnTo>
                <a:lnTo>
                  <a:pt x="12896" y="15257"/>
                </a:lnTo>
                <a:lnTo>
                  <a:pt x="12921" y="15232"/>
                </a:lnTo>
                <a:lnTo>
                  <a:pt x="12921" y="15695"/>
                </a:lnTo>
                <a:lnTo>
                  <a:pt x="12629" y="15646"/>
                </a:lnTo>
                <a:lnTo>
                  <a:pt x="12312" y="15646"/>
                </a:lnTo>
                <a:lnTo>
                  <a:pt x="11728" y="15670"/>
                </a:lnTo>
                <a:lnTo>
                  <a:pt x="11290" y="15695"/>
                </a:lnTo>
                <a:lnTo>
                  <a:pt x="10828" y="15743"/>
                </a:lnTo>
                <a:lnTo>
                  <a:pt x="10609" y="15792"/>
                </a:lnTo>
                <a:lnTo>
                  <a:pt x="10390" y="15865"/>
                </a:lnTo>
                <a:lnTo>
                  <a:pt x="10195" y="15938"/>
                </a:lnTo>
                <a:lnTo>
                  <a:pt x="10001" y="16060"/>
                </a:lnTo>
                <a:lnTo>
                  <a:pt x="9976" y="16084"/>
                </a:lnTo>
                <a:lnTo>
                  <a:pt x="9976" y="16133"/>
                </a:lnTo>
                <a:lnTo>
                  <a:pt x="9976" y="16157"/>
                </a:lnTo>
                <a:lnTo>
                  <a:pt x="10025" y="16181"/>
                </a:lnTo>
                <a:lnTo>
                  <a:pt x="10414" y="16181"/>
                </a:lnTo>
                <a:lnTo>
                  <a:pt x="10804" y="16157"/>
                </a:lnTo>
                <a:lnTo>
                  <a:pt x="11193" y="16108"/>
                </a:lnTo>
                <a:lnTo>
                  <a:pt x="11582" y="16084"/>
                </a:lnTo>
                <a:lnTo>
                  <a:pt x="12020" y="16060"/>
                </a:lnTo>
                <a:lnTo>
                  <a:pt x="12458" y="16060"/>
                </a:lnTo>
                <a:lnTo>
                  <a:pt x="12702" y="16084"/>
                </a:lnTo>
                <a:lnTo>
                  <a:pt x="12945" y="16133"/>
                </a:lnTo>
                <a:lnTo>
                  <a:pt x="12945" y="16424"/>
                </a:lnTo>
                <a:lnTo>
                  <a:pt x="12629" y="16400"/>
                </a:lnTo>
                <a:lnTo>
                  <a:pt x="12312" y="16400"/>
                </a:lnTo>
                <a:lnTo>
                  <a:pt x="11680" y="16424"/>
                </a:lnTo>
                <a:lnTo>
                  <a:pt x="11363" y="16424"/>
                </a:lnTo>
                <a:lnTo>
                  <a:pt x="10925" y="16449"/>
                </a:lnTo>
                <a:lnTo>
                  <a:pt x="10706" y="16473"/>
                </a:lnTo>
                <a:lnTo>
                  <a:pt x="10512" y="16522"/>
                </a:lnTo>
                <a:lnTo>
                  <a:pt x="10341" y="16619"/>
                </a:lnTo>
                <a:lnTo>
                  <a:pt x="10293" y="16668"/>
                </a:lnTo>
                <a:lnTo>
                  <a:pt x="10244" y="16716"/>
                </a:lnTo>
                <a:lnTo>
                  <a:pt x="10244" y="16814"/>
                </a:lnTo>
                <a:lnTo>
                  <a:pt x="10268" y="16838"/>
                </a:lnTo>
                <a:lnTo>
                  <a:pt x="10293" y="16862"/>
                </a:lnTo>
                <a:lnTo>
                  <a:pt x="10414" y="16935"/>
                </a:lnTo>
                <a:lnTo>
                  <a:pt x="10560" y="16960"/>
                </a:lnTo>
                <a:lnTo>
                  <a:pt x="10925" y="16960"/>
                </a:lnTo>
                <a:lnTo>
                  <a:pt x="11290" y="16935"/>
                </a:lnTo>
                <a:lnTo>
                  <a:pt x="11582" y="16887"/>
                </a:lnTo>
                <a:lnTo>
                  <a:pt x="12629" y="16887"/>
                </a:lnTo>
                <a:lnTo>
                  <a:pt x="12969" y="16935"/>
                </a:lnTo>
                <a:lnTo>
                  <a:pt x="12969" y="17179"/>
                </a:lnTo>
                <a:lnTo>
                  <a:pt x="12945" y="17227"/>
                </a:lnTo>
                <a:lnTo>
                  <a:pt x="12921" y="17276"/>
                </a:lnTo>
                <a:lnTo>
                  <a:pt x="12921" y="17373"/>
                </a:lnTo>
                <a:lnTo>
                  <a:pt x="12653" y="17349"/>
                </a:lnTo>
                <a:lnTo>
                  <a:pt x="12385" y="17349"/>
                </a:lnTo>
                <a:lnTo>
                  <a:pt x="11850" y="17398"/>
                </a:lnTo>
                <a:lnTo>
                  <a:pt x="11120" y="17422"/>
                </a:lnTo>
                <a:lnTo>
                  <a:pt x="10755" y="17471"/>
                </a:lnTo>
                <a:lnTo>
                  <a:pt x="10585" y="17519"/>
                </a:lnTo>
                <a:lnTo>
                  <a:pt x="10414" y="17592"/>
                </a:lnTo>
                <a:lnTo>
                  <a:pt x="10390" y="17592"/>
                </a:lnTo>
                <a:lnTo>
                  <a:pt x="10414" y="17617"/>
                </a:lnTo>
                <a:lnTo>
                  <a:pt x="10560" y="17665"/>
                </a:lnTo>
                <a:lnTo>
                  <a:pt x="10731" y="17714"/>
                </a:lnTo>
                <a:lnTo>
                  <a:pt x="11023" y="17738"/>
                </a:lnTo>
                <a:lnTo>
                  <a:pt x="12775" y="17738"/>
                </a:lnTo>
                <a:lnTo>
                  <a:pt x="12677" y="17836"/>
                </a:lnTo>
                <a:lnTo>
                  <a:pt x="12580" y="17957"/>
                </a:lnTo>
                <a:lnTo>
                  <a:pt x="12483" y="17909"/>
                </a:lnTo>
                <a:lnTo>
                  <a:pt x="12361" y="17884"/>
                </a:lnTo>
                <a:lnTo>
                  <a:pt x="11363" y="17884"/>
                </a:lnTo>
                <a:lnTo>
                  <a:pt x="11047" y="17909"/>
                </a:lnTo>
                <a:lnTo>
                  <a:pt x="10901" y="17933"/>
                </a:lnTo>
                <a:lnTo>
                  <a:pt x="10755" y="17957"/>
                </a:lnTo>
                <a:lnTo>
                  <a:pt x="10633" y="18030"/>
                </a:lnTo>
                <a:lnTo>
                  <a:pt x="10512" y="18103"/>
                </a:lnTo>
                <a:lnTo>
                  <a:pt x="10512" y="18128"/>
                </a:lnTo>
                <a:lnTo>
                  <a:pt x="10536" y="18152"/>
                </a:lnTo>
                <a:lnTo>
                  <a:pt x="10633" y="18201"/>
                </a:lnTo>
                <a:lnTo>
                  <a:pt x="10779" y="18249"/>
                </a:lnTo>
                <a:lnTo>
                  <a:pt x="10925" y="18274"/>
                </a:lnTo>
                <a:lnTo>
                  <a:pt x="11071" y="18274"/>
                </a:lnTo>
                <a:lnTo>
                  <a:pt x="11363" y="18249"/>
                </a:lnTo>
                <a:lnTo>
                  <a:pt x="11655" y="18225"/>
                </a:lnTo>
                <a:lnTo>
                  <a:pt x="11947" y="18249"/>
                </a:lnTo>
                <a:lnTo>
                  <a:pt x="11704" y="18298"/>
                </a:lnTo>
                <a:lnTo>
                  <a:pt x="11461" y="18322"/>
                </a:lnTo>
                <a:lnTo>
                  <a:pt x="10950" y="18371"/>
                </a:lnTo>
                <a:lnTo>
                  <a:pt x="10025" y="18395"/>
                </a:lnTo>
                <a:lnTo>
                  <a:pt x="9100" y="18420"/>
                </a:lnTo>
                <a:lnTo>
                  <a:pt x="8151" y="18420"/>
                </a:lnTo>
                <a:lnTo>
                  <a:pt x="7227" y="18395"/>
                </a:lnTo>
                <a:lnTo>
                  <a:pt x="6254" y="18347"/>
                </a:lnTo>
                <a:lnTo>
                  <a:pt x="5305" y="18371"/>
                </a:lnTo>
                <a:lnTo>
                  <a:pt x="3382" y="18420"/>
                </a:lnTo>
                <a:lnTo>
                  <a:pt x="2555" y="18444"/>
                </a:lnTo>
                <a:lnTo>
                  <a:pt x="2141" y="18444"/>
                </a:lnTo>
                <a:lnTo>
                  <a:pt x="1728" y="18420"/>
                </a:lnTo>
                <a:lnTo>
                  <a:pt x="1557" y="18395"/>
                </a:lnTo>
                <a:lnTo>
                  <a:pt x="1387" y="18347"/>
                </a:lnTo>
                <a:lnTo>
                  <a:pt x="1217" y="18298"/>
                </a:lnTo>
                <a:lnTo>
                  <a:pt x="1095" y="18249"/>
                </a:lnTo>
                <a:lnTo>
                  <a:pt x="949" y="18152"/>
                </a:lnTo>
                <a:lnTo>
                  <a:pt x="827" y="18079"/>
                </a:lnTo>
                <a:lnTo>
                  <a:pt x="608" y="17836"/>
                </a:lnTo>
                <a:lnTo>
                  <a:pt x="608" y="17787"/>
                </a:lnTo>
                <a:lnTo>
                  <a:pt x="633" y="17154"/>
                </a:lnTo>
                <a:lnTo>
                  <a:pt x="681" y="16497"/>
                </a:lnTo>
                <a:lnTo>
                  <a:pt x="681" y="15865"/>
                </a:lnTo>
                <a:lnTo>
                  <a:pt x="657" y="15549"/>
                </a:lnTo>
                <a:lnTo>
                  <a:pt x="633" y="15232"/>
                </a:lnTo>
                <a:lnTo>
                  <a:pt x="584" y="14892"/>
                </a:lnTo>
                <a:lnTo>
                  <a:pt x="560" y="14551"/>
                </a:lnTo>
                <a:lnTo>
                  <a:pt x="535" y="13845"/>
                </a:lnTo>
                <a:lnTo>
                  <a:pt x="560" y="13164"/>
                </a:lnTo>
                <a:lnTo>
                  <a:pt x="584" y="12483"/>
                </a:lnTo>
                <a:lnTo>
                  <a:pt x="608" y="11753"/>
                </a:lnTo>
                <a:lnTo>
                  <a:pt x="608" y="11023"/>
                </a:lnTo>
                <a:lnTo>
                  <a:pt x="608" y="9587"/>
                </a:lnTo>
                <a:lnTo>
                  <a:pt x="608" y="9052"/>
                </a:lnTo>
                <a:lnTo>
                  <a:pt x="608" y="8784"/>
                </a:lnTo>
                <a:lnTo>
                  <a:pt x="633" y="8516"/>
                </a:lnTo>
                <a:lnTo>
                  <a:pt x="657" y="8395"/>
                </a:lnTo>
                <a:lnTo>
                  <a:pt x="706" y="8297"/>
                </a:lnTo>
                <a:lnTo>
                  <a:pt x="827" y="8127"/>
                </a:lnTo>
                <a:lnTo>
                  <a:pt x="1071" y="7835"/>
                </a:lnTo>
                <a:lnTo>
                  <a:pt x="1411" y="7884"/>
                </a:lnTo>
                <a:lnTo>
                  <a:pt x="1728" y="7908"/>
                </a:lnTo>
                <a:lnTo>
                  <a:pt x="2409" y="7908"/>
                </a:lnTo>
                <a:lnTo>
                  <a:pt x="3066" y="7884"/>
                </a:lnTo>
                <a:lnTo>
                  <a:pt x="5207" y="7884"/>
                </a:lnTo>
                <a:lnTo>
                  <a:pt x="6692" y="7908"/>
                </a:lnTo>
                <a:lnTo>
                  <a:pt x="10268" y="7908"/>
                </a:lnTo>
                <a:lnTo>
                  <a:pt x="10974" y="7860"/>
                </a:lnTo>
                <a:lnTo>
                  <a:pt x="11315" y="7860"/>
                </a:lnTo>
                <a:lnTo>
                  <a:pt x="11631" y="7884"/>
                </a:lnTo>
                <a:lnTo>
                  <a:pt x="11972" y="7908"/>
                </a:lnTo>
                <a:lnTo>
                  <a:pt x="12312" y="7957"/>
                </a:lnTo>
                <a:lnTo>
                  <a:pt x="12410" y="7981"/>
                </a:lnTo>
                <a:lnTo>
                  <a:pt x="12483" y="7933"/>
                </a:lnTo>
                <a:lnTo>
                  <a:pt x="12556" y="7884"/>
                </a:lnTo>
                <a:lnTo>
                  <a:pt x="12604" y="7811"/>
                </a:lnTo>
                <a:close/>
                <a:moveTo>
                  <a:pt x="6643" y="0"/>
                </a:moveTo>
                <a:lnTo>
                  <a:pt x="6327" y="24"/>
                </a:lnTo>
                <a:lnTo>
                  <a:pt x="6010" y="49"/>
                </a:lnTo>
                <a:lnTo>
                  <a:pt x="5694" y="122"/>
                </a:lnTo>
                <a:lnTo>
                  <a:pt x="5402" y="170"/>
                </a:lnTo>
                <a:lnTo>
                  <a:pt x="5086" y="268"/>
                </a:lnTo>
                <a:lnTo>
                  <a:pt x="4794" y="365"/>
                </a:lnTo>
                <a:lnTo>
                  <a:pt x="4502" y="487"/>
                </a:lnTo>
                <a:lnTo>
                  <a:pt x="4210" y="633"/>
                </a:lnTo>
                <a:lnTo>
                  <a:pt x="3942" y="779"/>
                </a:lnTo>
                <a:lnTo>
                  <a:pt x="3674" y="949"/>
                </a:lnTo>
                <a:lnTo>
                  <a:pt x="3431" y="1144"/>
                </a:lnTo>
                <a:lnTo>
                  <a:pt x="3188" y="1338"/>
                </a:lnTo>
                <a:lnTo>
                  <a:pt x="2969" y="1557"/>
                </a:lnTo>
                <a:lnTo>
                  <a:pt x="2750" y="1776"/>
                </a:lnTo>
                <a:lnTo>
                  <a:pt x="2555" y="2044"/>
                </a:lnTo>
                <a:lnTo>
                  <a:pt x="2385" y="2287"/>
                </a:lnTo>
                <a:lnTo>
                  <a:pt x="2214" y="2579"/>
                </a:lnTo>
                <a:lnTo>
                  <a:pt x="1947" y="3090"/>
                </a:lnTo>
                <a:lnTo>
                  <a:pt x="1728" y="3674"/>
                </a:lnTo>
                <a:lnTo>
                  <a:pt x="1533" y="4283"/>
                </a:lnTo>
                <a:lnTo>
                  <a:pt x="1387" y="4891"/>
                </a:lnTo>
                <a:lnTo>
                  <a:pt x="1314" y="5524"/>
                </a:lnTo>
                <a:lnTo>
                  <a:pt x="1290" y="5840"/>
                </a:lnTo>
                <a:lnTo>
                  <a:pt x="1265" y="6156"/>
                </a:lnTo>
                <a:lnTo>
                  <a:pt x="1290" y="6448"/>
                </a:lnTo>
                <a:lnTo>
                  <a:pt x="1314" y="6765"/>
                </a:lnTo>
                <a:lnTo>
                  <a:pt x="1363" y="7057"/>
                </a:lnTo>
                <a:lnTo>
                  <a:pt x="1436" y="7349"/>
                </a:lnTo>
                <a:lnTo>
                  <a:pt x="1460" y="7422"/>
                </a:lnTo>
                <a:lnTo>
                  <a:pt x="998" y="7495"/>
                </a:lnTo>
                <a:lnTo>
                  <a:pt x="803" y="7495"/>
                </a:lnTo>
                <a:lnTo>
                  <a:pt x="730" y="7543"/>
                </a:lnTo>
                <a:lnTo>
                  <a:pt x="657" y="7568"/>
                </a:lnTo>
                <a:lnTo>
                  <a:pt x="511" y="7689"/>
                </a:lnTo>
                <a:lnTo>
                  <a:pt x="389" y="7860"/>
                </a:lnTo>
                <a:lnTo>
                  <a:pt x="292" y="8030"/>
                </a:lnTo>
                <a:lnTo>
                  <a:pt x="219" y="8200"/>
                </a:lnTo>
                <a:lnTo>
                  <a:pt x="170" y="8395"/>
                </a:lnTo>
                <a:lnTo>
                  <a:pt x="146" y="8565"/>
                </a:lnTo>
                <a:lnTo>
                  <a:pt x="97" y="8930"/>
                </a:lnTo>
                <a:lnTo>
                  <a:pt x="73" y="9319"/>
                </a:lnTo>
                <a:lnTo>
                  <a:pt x="73" y="10074"/>
                </a:lnTo>
                <a:lnTo>
                  <a:pt x="97" y="10828"/>
                </a:lnTo>
                <a:lnTo>
                  <a:pt x="97" y="11582"/>
                </a:lnTo>
                <a:lnTo>
                  <a:pt x="73" y="12361"/>
                </a:lnTo>
                <a:lnTo>
                  <a:pt x="24" y="13115"/>
                </a:lnTo>
                <a:lnTo>
                  <a:pt x="0" y="13894"/>
                </a:lnTo>
                <a:lnTo>
                  <a:pt x="0" y="14283"/>
                </a:lnTo>
                <a:lnTo>
                  <a:pt x="24" y="14673"/>
                </a:lnTo>
                <a:lnTo>
                  <a:pt x="97" y="15378"/>
                </a:lnTo>
                <a:lnTo>
                  <a:pt x="146" y="15743"/>
                </a:lnTo>
                <a:lnTo>
                  <a:pt x="146" y="16108"/>
                </a:lnTo>
                <a:lnTo>
                  <a:pt x="122" y="16935"/>
                </a:lnTo>
                <a:lnTo>
                  <a:pt x="97" y="17787"/>
                </a:lnTo>
                <a:lnTo>
                  <a:pt x="97" y="17860"/>
                </a:lnTo>
                <a:lnTo>
                  <a:pt x="146" y="17933"/>
                </a:lnTo>
                <a:lnTo>
                  <a:pt x="195" y="17982"/>
                </a:lnTo>
                <a:lnTo>
                  <a:pt x="243" y="18006"/>
                </a:lnTo>
                <a:lnTo>
                  <a:pt x="341" y="18152"/>
                </a:lnTo>
                <a:lnTo>
                  <a:pt x="438" y="18298"/>
                </a:lnTo>
                <a:lnTo>
                  <a:pt x="560" y="18420"/>
                </a:lnTo>
                <a:lnTo>
                  <a:pt x="681" y="18517"/>
                </a:lnTo>
                <a:lnTo>
                  <a:pt x="827" y="18590"/>
                </a:lnTo>
                <a:lnTo>
                  <a:pt x="973" y="18663"/>
                </a:lnTo>
                <a:lnTo>
                  <a:pt x="1314" y="18760"/>
                </a:lnTo>
                <a:lnTo>
                  <a:pt x="1655" y="18809"/>
                </a:lnTo>
                <a:lnTo>
                  <a:pt x="2020" y="18833"/>
                </a:lnTo>
                <a:lnTo>
                  <a:pt x="2677" y="18858"/>
                </a:lnTo>
                <a:lnTo>
                  <a:pt x="3869" y="18833"/>
                </a:lnTo>
                <a:lnTo>
                  <a:pt x="5037" y="18785"/>
                </a:lnTo>
                <a:lnTo>
                  <a:pt x="6813" y="18785"/>
                </a:lnTo>
                <a:lnTo>
                  <a:pt x="7422" y="18809"/>
                </a:lnTo>
                <a:lnTo>
                  <a:pt x="8443" y="18858"/>
                </a:lnTo>
                <a:lnTo>
                  <a:pt x="9465" y="18858"/>
                </a:lnTo>
                <a:lnTo>
                  <a:pt x="10487" y="18809"/>
                </a:lnTo>
                <a:lnTo>
                  <a:pt x="11509" y="18760"/>
                </a:lnTo>
                <a:lnTo>
                  <a:pt x="11801" y="18712"/>
                </a:lnTo>
                <a:lnTo>
                  <a:pt x="12069" y="18663"/>
                </a:lnTo>
                <a:lnTo>
                  <a:pt x="12337" y="18590"/>
                </a:lnTo>
                <a:lnTo>
                  <a:pt x="12556" y="18493"/>
                </a:lnTo>
                <a:lnTo>
                  <a:pt x="12775" y="18347"/>
                </a:lnTo>
                <a:lnTo>
                  <a:pt x="12969" y="18201"/>
                </a:lnTo>
                <a:lnTo>
                  <a:pt x="13115" y="17982"/>
                </a:lnTo>
                <a:lnTo>
                  <a:pt x="13237" y="17763"/>
                </a:lnTo>
                <a:lnTo>
                  <a:pt x="13286" y="17738"/>
                </a:lnTo>
                <a:lnTo>
                  <a:pt x="13310" y="17690"/>
                </a:lnTo>
                <a:lnTo>
                  <a:pt x="13334" y="17665"/>
                </a:lnTo>
                <a:lnTo>
                  <a:pt x="13334" y="17592"/>
                </a:lnTo>
                <a:lnTo>
                  <a:pt x="13334" y="17471"/>
                </a:lnTo>
                <a:lnTo>
                  <a:pt x="13359" y="17398"/>
                </a:lnTo>
                <a:lnTo>
                  <a:pt x="13359" y="17300"/>
                </a:lnTo>
                <a:lnTo>
                  <a:pt x="13310" y="17227"/>
                </a:lnTo>
                <a:lnTo>
                  <a:pt x="13310" y="16862"/>
                </a:lnTo>
                <a:lnTo>
                  <a:pt x="13334" y="16789"/>
                </a:lnTo>
                <a:lnTo>
                  <a:pt x="13359" y="16716"/>
                </a:lnTo>
                <a:lnTo>
                  <a:pt x="13334" y="16643"/>
                </a:lnTo>
                <a:lnTo>
                  <a:pt x="13310" y="16570"/>
                </a:lnTo>
                <a:lnTo>
                  <a:pt x="13286" y="16108"/>
                </a:lnTo>
                <a:lnTo>
                  <a:pt x="13334" y="16060"/>
                </a:lnTo>
                <a:lnTo>
                  <a:pt x="13359" y="15987"/>
                </a:lnTo>
                <a:lnTo>
                  <a:pt x="13359" y="15914"/>
                </a:lnTo>
                <a:lnTo>
                  <a:pt x="13310" y="15865"/>
                </a:lnTo>
                <a:lnTo>
                  <a:pt x="13359" y="14454"/>
                </a:lnTo>
                <a:lnTo>
                  <a:pt x="13432" y="13042"/>
                </a:lnTo>
                <a:lnTo>
                  <a:pt x="13480" y="11826"/>
                </a:lnTo>
                <a:lnTo>
                  <a:pt x="13529" y="10585"/>
                </a:lnTo>
                <a:lnTo>
                  <a:pt x="13553" y="10098"/>
                </a:lnTo>
                <a:lnTo>
                  <a:pt x="13553" y="9563"/>
                </a:lnTo>
                <a:lnTo>
                  <a:pt x="13529" y="9027"/>
                </a:lnTo>
                <a:lnTo>
                  <a:pt x="13505" y="8760"/>
                </a:lnTo>
                <a:lnTo>
                  <a:pt x="13456" y="8516"/>
                </a:lnTo>
                <a:lnTo>
                  <a:pt x="13432" y="8127"/>
                </a:lnTo>
                <a:lnTo>
                  <a:pt x="13383" y="7933"/>
                </a:lnTo>
                <a:lnTo>
                  <a:pt x="13334" y="7762"/>
                </a:lnTo>
                <a:lnTo>
                  <a:pt x="13261" y="7665"/>
                </a:lnTo>
                <a:lnTo>
                  <a:pt x="13188" y="7592"/>
                </a:lnTo>
                <a:lnTo>
                  <a:pt x="13091" y="7519"/>
                </a:lnTo>
                <a:lnTo>
                  <a:pt x="12969" y="7470"/>
                </a:lnTo>
                <a:lnTo>
                  <a:pt x="12848" y="7446"/>
                </a:lnTo>
                <a:lnTo>
                  <a:pt x="12726" y="7446"/>
                </a:lnTo>
                <a:lnTo>
                  <a:pt x="12604" y="7470"/>
                </a:lnTo>
                <a:lnTo>
                  <a:pt x="12483" y="7495"/>
                </a:lnTo>
                <a:lnTo>
                  <a:pt x="12434" y="7470"/>
                </a:lnTo>
                <a:lnTo>
                  <a:pt x="12239" y="7446"/>
                </a:lnTo>
                <a:lnTo>
                  <a:pt x="12239" y="7373"/>
                </a:lnTo>
                <a:lnTo>
                  <a:pt x="12166" y="6984"/>
                </a:lnTo>
                <a:lnTo>
                  <a:pt x="12118" y="6570"/>
                </a:lnTo>
                <a:lnTo>
                  <a:pt x="12093" y="6181"/>
                </a:lnTo>
                <a:lnTo>
                  <a:pt x="12093" y="5767"/>
                </a:lnTo>
                <a:lnTo>
                  <a:pt x="12093" y="4940"/>
                </a:lnTo>
                <a:lnTo>
                  <a:pt x="12069" y="4550"/>
                </a:lnTo>
                <a:lnTo>
                  <a:pt x="11996" y="4137"/>
                </a:lnTo>
                <a:lnTo>
                  <a:pt x="11923" y="3796"/>
                </a:lnTo>
                <a:lnTo>
                  <a:pt x="11826" y="3455"/>
                </a:lnTo>
                <a:lnTo>
                  <a:pt x="11704" y="3115"/>
                </a:lnTo>
                <a:lnTo>
                  <a:pt x="11558" y="2798"/>
                </a:lnTo>
                <a:lnTo>
                  <a:pt x="11388" y="2482"/>
                </a:lnTo>
                <a:lnTo>
                  <a:pt x="11193" y="2190"/>
                </a:lnTo>
                <a:lnTo>
                  <a:pt x="10974" y="1898"/>
                </a:lnTo>
                <a:lnTo>
                  <a:pt x="10731" y="1630"/>
                </a:lnTo>
                <a:lnTo>
                  <a:pt x="10512" y="1411"/>
                </a:lnTo>
                <a:lnTo>
                  <a:pt x="10293" y="1217"/>
                </a:lnTo>
                <a:lnTo>
                  <a:pt x="10049" y="1022"/>
                </a:lnTo>
                <a:lnTo>
                  <a:pt x="9806" y="852"/>
                </a:lnTo>
                <a:lnTo>
                  <a:pt x="9538" y="706"/>
                </a:lnTo>
                <a:lnTo>
                  <a:pt x="9271" y="560"/>
                </a:lnTo>
                <a:lnTo>
                  <a:pt x="9003" y="438"/>
                </a:lnTo>
                <a:lnTo>
                  <a:pt x="8711" y="341"/>
                </a:lnTo>
                <a:lnTo>
                  <a:pt x="8443" y="243"/>
                </a:lnTo>
                <a:lnTo>
                  <a:pt x="8151" y="170"/>
                </a:lnTo>
                <a:lnTo>
                  <a:pt x="7835" y="97"/>
                </a:lnTo>
                <a:lnTo>
                  <a:pt x="7543" y="49"/>
                </a:lnTo>
                <a:lnTo>
                  <a:pt x="7251" y="24"/>
                </a:lnTo>
                <a:lnTo>
                  <a:pt x="6935" y="0"/>
                </a:lnTo>
                <a:close/>
              </a:path>
            </a:pathLst>
          </a:custGeom>
          <a:solidFill>
            <a:schemeClr val="accent3"/>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9" name="Rectangle 8">
            <a:extLst>
              <a:ext uri="{FF2B5EF4-FFF2-40B4-BE49-F238E27FC236}">
                <a16:creationId xmlns:a16="http://schemas.microsoft.com/office/drawing/2014/main" id="{F4A62E7F-4F3A-B75C-F867-3B4D981D46EA}"/>
              </a:ext>
            </a:extLst>
          </p:cNvPr>
          <p:cNvSpPr/>
          <p:nvPr/>
        </p:nvSpPr>
        <p:spPr>
          <a:xfrm>
            <a:off x="4383800" y="6110793"/>
            <a:ext cx="204250" cy="20913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Tree>
    <p:extLst>
      <p:ext uri="{BB962C8B-B14F-4D97-AF65-F5344CB8AC3E}">
        <p14:creationId xmlns:p14="http://schemas.microsoft.com/office/powerpoint/2010/main" val="4132159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1</a:t>
            </a:fld>
            <a:endParaRPr lang="da-DK"/>
          </a:p>
        </p:txBody>
      </p:sp>
      <p:sp>
        <p:nvSpPr>
          <p:cNvPr id="12" name="Google Shape;843;p29">
            <a:extLst>
              <a:ext uri="{FF2B5EF4-FFF2-40B4-BE49-F238E27FC236}">
                <a16:creationId xmlns:a16="http://schemas.microsoft.com/office/drawing/2014/main" id="{7863966F-5A3D-4358-A359-6A15BA528247}"/>
              </a:ext>
            </a:extLst>
          </p:cNvPr>
          <p:cNvSpPr/>
          <p:nvPr/>
        </p:nvSpPr>
        <p:spPr>
          <a:xfrm>
            <a:off x="0" y="347677"/>
            <a:ext cx="12192000" cy="856671"/>
          </a:xfrm>
          <a:prstGeom prst="rect">
            <a:avLst/>
          </a:prstGeom>
          <a:solidFill>
            <a:schemeClr val="accent2"/>
          </a:solidFill>
          <a:ln>
            <a:noFill/>
          </a:ln>
        </p:spPr>
        <p:txBody>
          <a:bodyPr spcFirstLastPara="1" wrap="square" lIns="91425" tIns="0" rIns="91425" bIns="0" anchor="ctr" anchorCtr="0">
            <a:noAutofit/>
          </a:bodyPr>
          <a:lstStyle/>
          <a:p>
            <a:pPr algn="ctr"/>
            <a:r>
              <a:rPr lang="da-DK" sz="4000" b="1">
                <a:solidFill>
                  <a:schemeClr val="bg1"/>
                </a:solidFill>
                <a:latin typeface="Amatic SC" panose="00000500000000000000" pitchFamily="2" charset="-79"/>
                <a:cs typeface="Amatic SC" panose="00000500000000000000" pitchFamily="2" charset="-79"/>
              </a:rPr>
              <a:t>Sæt fokus på </a:t>
            </a:r>
            <a:r>
              <a:rPr lang="da-DK" sz="4000" b="1" dirty="0">
                <a:solidFill>
                  <a:schemeClr val="bg1"/>
                </a:solidFill>
                <a:latin typeface="Amatic SC" panose="00000500000000000000" pitchFamily="2" charset="-79"/>
                <a:cs typeface="Amatic SC" panose="00000500000000000000" pitchFamily="2" charset="-79"/>
              </a:rPr>
              <a:t>teamsamarbejdet</a:t>
            </a:r>
            <a:endParaRPr lang="da-DK" sz="4000" b="1">
              <a:solidFill>
                <a:schemeClr val="bg1"/>
              </a:solidFill>
              <a:latin typeface="Amatic SC" panose="00000500000000000000" pitchFamily="2" charset="-79"/>
              <a:cs typeface="Amatic SC" panose="00000500000000000000" pitchFamily="2" charset="-79"/>
            </a:endParaRPr>
          </a:p>
        </p:txBody>
      </p:sp>
      <p:sp>
        <p:nvSpPr>
          <p:cNvPr id="19" name="Google Shape;847;p29">
            <a:extLst>
              <a:ext uri="{FF2B5EF4-FFF2-40B4-BE49-F238E27FC236}">
                <a16:creationId xmlns:a16="http://schemas.microsoft.com/office/drawing/2014/main" id="{89EEED7B-925E-38A2-EC55-31DF4EB1256A}"/>
              </a:ext>
            </a:extLst>
          </p:cNvPr>
          <p:cNvSpPr txBox="1"/>
          <p:nvPr/>
        </p:nvSpPr>
        <p:spPr>
          <a:xfrm>
            <a:off x="901244" y="1682072"/>
            <a:ext cx="6563044" cy="3903662"/>
          </a:xfrm>
          <a:prstGeom prst="rect">
            <a:avLst/>
          </a:prstGeom>
          <a:noFill/>
          <a:ln>
            <a:noFill/>
          </a:ln>
        </p:spPr>
        <p:txBody>
          <a:bodyPr spcFirstLastPara="1" wrap="square" lIns="0" tIns="180000" rIns="0" bIns="0" anchor="t" anchorCtr="0">
            <a:noAutofit/>
          </a:bodyPr>
          <a:lstStyle/>
          <a:p>
            <a:r>
              <a:rPr lang="da-DK" sz="2200" b="1" dirty="0">
                <a:solidFill>
                  <a:srgbClr val="273F68"/>
                </a:solidFill>
                <a:latin typeface="Amatic SC"/>
                <a:cs typeface="Amatic SC"/>
                <a:sym typeface="Quicksand"/>
              </a:rPr>
              <a:t>Evalueringen viser, at: </a:t>
            </a:r>
          </a:p>
          <a:p>
            <a:endParaRPr lang="da-DK" sz="1500" dirty="0">
              <a:latin typeface="Quicksand" panose="020B0604020202020204" charset="0"/>
              <a:ea typeface="Quicksand"/>
              <a:cs typeface="Quicksand" panose="020B0604020202020204" charset="0"/>
              <a:sym typeface="Quicksand"/>
            </a:endParaRPr>
          </a:p>
          <a:p>
            <a:pPr lvl="1"/>
            <a:r>
              <a:rPr lang="da-DK" sz="1500" dirty="0">
                <a:latin typeface="Quicksand" panose="020B0604020202020204"/>
                <a:cs typeface="Amatic SC" panose="00000500000000000000" pitchFamily="2" charset="-79"/>
              </a:rPr>
              <a:t>63 pct. af pædagogisk personale er enig eller meget enig i, at arbejdet med Den Mangfoldige Folkeskole </a:t>
            </a:r>
            <a:r>
              <a:rPr lang="da-DK" sz="1500" b="1" dirty="0">
                <a:latin typeface="Quicksand" panose="020B0604020202020204"/>
                <a:cs typeface="Amatic SC" panose="00000500000000000000" pitchFamily="2" charset="-79"/>
              </a:rPr>
              <a:t>fremmer</a:t>
            </a:r>
            <a:r>
              <a:rPr lang="da-DK" sz="1500" dirty="0">
                <a:latin typeface="Quicksand" panose="020B0604020202020204"/>
                <a:cs typeface="Amatic SC" panose="00000500000000000000" pitchFamily="2" charset="-79"/>
              </a:rPr>
              <a:t> </a:t>
            </a:r>
            <a:r>
              <a:rPr lang="da-DK" sz="1500" b="1" dirty="0">
                <a:latin typeface="Quicksand" panose="020B0604020202020204"/>
                <a:cs typeface="Amatic SC" panose="00000500000000000000" pitchFamily="2" charset="-79"/>
              </a:rPr>
              <a:t>samarbejdet</a:t>
            </a:r>
            <a:r>
              <a:rPr lang="da-DK" sz="1500" dirty="0">
                <a:latin typeface="Quicksand" panose="020B0604020202020204"/>
                <a:cs typeface="Amatic SC" panose="00000500000000000000" pitchFamily="2" charset="-79"/>
              </a:rPr>
              <a:t> </a:t>
            </a:r>
            <a:r>
              <a:rPr lang="da-DK" sz="1500" b="1" dirty="0">
                <a:latin typeface="Quicksand" panose="020B0604020202020204"/>
                <a:cs typeface="Amatic SC" panose="00000500000000000000" pitchFamily="2" charset="-79"/>
              </a:rPr>
              <a:t>om</a:t>
            </a:r>
            <a:r>
              <a:rPr lang="da-DK" sz="1500" dirty="0">
                <a:latin typeface="Quicksand" panose="020B0604020202020204"/>
                <a:cs typeface="Amatic SC" panose="00000500000000000000" pitchFamily="2" charset="-79"/>
              </a:rPr>
              <a:t> </a:t>
            </a:r>
            <a:r>
              <a:rPr lang="da-DK" sz="1500" b="1" dirty="0">
                <a:latin typeface="Quicksand" panose="020B0604020202020204"/>
                <a:cs typeface="Amatic SC" panose="00000500000000000000" pitchFamily="2" charset="-79"/>
              </a:rPr>
              <a:t>læringsaktiviteter.</a:t>
            </a:r>
            <a:br>
              <a:rPr lang="da-DK" sz="1500" dirty="0">
                <a:latin typeface="Quicksand" panose="020B0604020202020204"/>
                <a:cs typeface="Amatic SC" panose="00000500000000000000" pitchFamily="2" charset="-79"/>
              </a:rPr>
            </a:br>
            <a:endParaRPr lang="da-DK" sz="1500" dirty="0">
              <a:latin typeface="Quicksand" panose="020B0604020202020204" charset="0"/>
              <a:ea typeface="Quicksand"/>
              <a:cs typeface="Quicksand" panose="020B0604020202020204" charset="0"/>
              <a:sym typeface="Quicksand"/>
            </a:endParaRPr>
          </a:p>
          <a:p>
            <a:pPr lvl="1"/>
            <a:r>
              <a:rPr lang="da-DK" sz="1500" dirty="0">
                <a:latin typeface="Quicksand" panose="020B0604020202020204" charset="0"/>
                <a:ea typeface="Quicksand"/>
                <a:cs typeface="Quicksand" panose="020B0604020202020204" charset="0"/>
                <a:sym typeface="Quicksand"/>
              </a:rPr>
              <a:t>Et velfungerende teamsamarbejde er en </a:t>
            </a:r>
            <a:r>
              <a:rPr lang="da-DK" sz="1500" b="1" dirty="0">
                <a:latin typeface="Quicksand" panose="020B0604020202020204" charset="0"/>
                <a:ea typeface="Quicksand"/>
                <a:cs typeface="Quicksand" panose="020B0604020202020204" charset="0"/>
                <a:sym typeface="Quicksand"/>
              </a:rPr>
              <a:t>forudsætning for at lykkes med at udvikle praksis.</a:t>
            </a:r>
            <a:r>
              <a:rPr lang="da-DK" sz="1500" dirty="0">
                <a:latin typeface="Quicksand" panose="020B0604020202020204" charset="0"/>
                <a:ea typeface="Quicksand"/>
                <a:cs typeface="Quicksand" panose="020B0604020202020204" charset="0"/>
                <a:sym typeface="Quicksand"/>
              </a:rPr>
              <a:t> Tæt sparring med kolleger gør, at der bliver etableret den nødvendige tryghed, som er en forudsætning for at kunne dele både succeshistorier og udfordringer fra praksis med hinanden. </a:t>
            </a:r>
          </a:p>
          <a:p>
            <a:pPr lvl="1"/>
            <a:endParaRPr lang="da-DK" sz="1500" dirty="0">
              <a:latin typeface="Quicksand" panose="020B0604020202020204" charset="0"/>
              <a:ea typeface="Quicksand"/>
              <a:cs typeface="Quicksand" panose="020B0604020202020204" charset="0"/>
              <a:sym typeface="Quicksand"/>
            </a:endParaRPr>
          </a:p>
          <a:p>
            <a:pPr lvl="1"/>
            <a:r>
              <a:rPr lang="da-DK" sz="1500" dirty="0">
                <a:latin typeface="Quicksand" panose="020B0604020202020204" charset="0"/>
                <a:ea typeface="Quicksand"/>
                <a:cs typeface="Quicksand" panose="020B0604020202020204" charset="0"/>
                <a:sym typeface="Quicksand"/>
              </a:rPr>
              <a:t>Teamsamarbejdet er </a:t>
            </a:r>
            <a:r>
              <a:rPr lang="da-DK" sz="1500" b="1" dirty="0">
                <a:latin typeface="Quicksand" panose="020B0604020202020204" charset="0"/>
                <a:ea typeface="Quicksand"/>
                <a:cs typeface="Quicksand" panose="020B0604020202020204" charset="0"/>
                <a:sym typeface="Quicksand"/>
              </a:rPr>
              <a:t>særligt</a:t>
            </a:r>
            <a:r>
              <a:rPr lang="da-DK" sz="1500" dirty="0">
                <a:latin typeface="Quicksand" panose="020B0604020202020204" charset="0"/>
                <a:ea typeface="Quicksand"/>
                <a:cs typeface="Quicksand" panose="020B0604020202020204" charset="0"/>
                <a:sym typeface="Quicksand"/>
              </a:rPr>
              <a:t> </a:t>
            </a:r>
            <a:r>
              <a:rPr lang="da-DK" sz="1500" b="1" dirty="0">
                <a:latin typeface="Quicksand" panose="020B0604020202020204" charset="0"/>
                <a:ea typeface="Quicksand"/>
                <a:cs typeface="Quicksand" panose="020B0604020202020204" charset="0"/>
                <a:sym typeface="Quicksand"/>
              </a:rPr>
              <a:t>velfungerende</a:t>
            </a:r>
            <a:r>
              <a:rPr lang="da-DK" sz="1500" dirty="0">
                <a:latin typeface="Quicksand" panose="020B0604020202020204" charset="0"/>
                <a:ea typeface="Quicksand"/>
                <a:cs typeface="Quicksand" panose="020B0604020202020204" charset="0"/>
                <a:sym typeface="Quicksand"/>
              </a:rPr>
              <a:t>, når teamet:</a:t>
            </a:r>
          </a:p>
          <a:p>
            <a:pPr marL="579438" lvl="1" indent="-122238">
              <a:spcBef>
                <a:spcPts val="600"/>
              </a:spcBef>
              <a:buFont typeface="Arial" panose="020B0604020202020204" pitchFamily="34" charset="0"/>
              <a:buChar char="•"/>
            </a:pPr>
            <a:r>
              <a:rPr lang="da-DK" sz="1500" dirty="0">
                <a:solidFill>
                  <a:schemeClr val="tx1"/>
                </a:solidFill>
                <a:latin typeface="Quicksand" panose="020B0604020202020204" charset="0"/>
              </a:rPr>
              <a:t>Inddrage kolleger </a:t>
            </a:r>
            <a:r>
              <a:rPr lang="da-DK" sz="1500" i="0" dirty="0">
                <a:solidFill>
                  <a:schemeClr val="tx1"/>
                </a:solidFill>
                <a:effectLst/>
                <a:latin typeface="ui-sans-serif"/>
                <a:sym typeface="Quicksand"/>
              </a:rPr>
              <a:t>gensidig i praksisudviklingen. Fx ved at </a:t>
            </a:r>
            <a:r>
              <a:rPr lang="da-DK" sz="1500" dirty="0">
                <a:solidFill>
                  <a:schemeClr val="tx1"/>
                </a:solidFill>
                <a:latin typeface="Quicksand" panose="020B0604020202020204"/>
              </a:rPr>
              <a:t>anvende observation som genstand for læring.</a:t>
            </a:r>
            <a:endParaRPr lang="da-DK" sz="1500" dirty="0">
              <a:latin typeface="Quicksand" panose="020B0604020202020204" charset="0"/>
            </a:endParaRPr>
          </a:p>
          <a:p>
            <a:pPr marL="579438" lvl="1" indent="-122238">
              <a:spcBef>
                <a:spcPts val="600"/>
              </a:spcBef>
              <a:buFont typeface="Arial" panose="020B0604020202020204" pitchFamily="34" charset="0"/>
              <a:buChar char="•"/>
            </a:pPr>
            <a:r>
              <a:rPr lang="da-DK" sz="1500" dirty="0">
                <a:latin typeface="Quicksand" panose="020B0604020202020204" charset="0"/>
                <a:ea typeface="Quicksand"/>
                <a:cs typeface="Quicksand" panose="020B0604020202020204" charset="0"/>
                <a:sym typeface="Quicksand"/>
              </a:rPr>
              <a:t>Indsamler og anvender data til at vurdere teamets eksisterende praksis og derfra reflekterer over, hvordan den kan forbedres.</a:t>
            </a:r>
          </a:p>
          <a:p>
            <a:pPr lvl="1"/>
            <a:endParaRPr lang="da-DK" sz="1500" dirty="0">
              <a:latin typeface="Quicksand" panose="020B0604020202020204" charset="0"/>
              <a:ea typeface="Quicksand"/>
              <a:cs typeface="Quicksand" panose="020B0604020202020204" charset="0"/>
              <a:sym typeface="Quicksand"/>
            </a:endParaRPr>
          </a:p>
          <a:p>
            <a:pPr lvl="1"/>
            <a:br>
              <a:rPr lang="da-DK" sz="1500" dirty="0">
                <a:latin typeface="Quicksand" panose="020B0604020202020204" charset="0"/>
                <a:ea typeface="Quicksand"/>
                <a:cs typeface="Quicksand" panose="020B0604020202020204" charset="0"/>
                <a:sym typeface="Quicksand"/>
              </a:rPr>
            </a:br>
            <a:endParaRPr lang="da-DK" sz="1600" dirty="0">
              <a:latin typeface="Quicksand" panose="020B0604020202020204" charset="0"/>
              <a:ea typeface="Quicksand"/>
              <a:cs typeface="Quicksand" panose="020B0604020202020204" charset="0"/>
              <a:sym typeface="Quicksand"/>
            </a:endParaRPr>
          </a:p>
          <a:p>
            <a:pPr lvl="0" algn="l">
              <a:lnSpc>
                <a:spcPct val="150000"/>
              </a:lnSpc>
              <a:spcBef>
                <a:spcPts val="0"/>
              </a:spcBef>
              <a:spcAft>
                <a:spcPts val="0"/>
              </a:spcAft>
            </a:pPr>
            <a:endParaRPr lang="da-DK" sz="1600" dirty="0">
              <a:latin typeface="Quicksand"/>
              <a:ea typeface="Quicksand"/>
              <a:cs typeface="Quicksand"/>
              <a:sym typeface="Quicksand"/>
            </a:endParaRPr>
          </a:p>
          <a:p>
            <a:pPr lvl="0" algn="l">
              <a:lnSpc>
                <a:spcPct val="150000"/>
              </a:lnSpc>
              <a:spcBef>
                <a:spcPts val="0"/>
              </a:spcBef>
              <a:spcAft>
                <a:spcPts val="0"/>
              </a:spcAft>
            </a:pPr>
            <a:endParaRPr lang="da-DK" dirty="0">
              <a:latin typeface="Quicksand"/>
              <a:ea typeface="Quicksand"/>
              <a:cs typeface="Quicksand"/>
              <a:sym typeface="Quicksand"/>
            </a:endParaRPr>
          </a:p>
        </p:txBody>
      </p:sp>
      <p:sp>
        <p:nvSpPr>
          <p:cNvPr id="20" name="Oval 19">
            <a:extLst>
              <a:ext uri="{FF2B5EF4-FFF2-40B4-BE49-F238E27FC236}">
                <a16:creationId xmlns:a16="http://schemas.microsoft.com/office/drawing/2014/main" id="{7D0BF512-7342-B0AF-9836-9E30F6644CDD}"/>
              </a:ext>
            </a:extLst>
          </p:cNvPr>
          <p:cNvSpPr/>
          <p:nvPr/>
        </p:nvSpPr>
        <p:spPr>
          <a:xfrm>
            <a:off x="901242" y="2386330"/>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21" name="Oval 20">
            <a:extLst>
              <a:ext uri="{FF2B5EF4-FFF2-40B4-BE49-F238E27FC236}">
                <a16:creationId xmlns:a16="http://schemas.microsoft.com/office/drawing/2014/main" id="{1B5E66E0-0184-58EA-4223-75789BD75A00}"/>
              </a:ext>
            </a:extLst>
          </p:cNvPr>
          <p:cNvSpPr/>
          <p:nvPr/>
        </p:nvSpPr>
        <p:spPr>
          <a:xfrm>
            <a:off x="901242" y="3087717"/>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23" name="TextBox 22">
            <a:extLst>
              <a:ext uri="{FF2B5EF4-FFF2-40B4-BE49-F238E27FC236}">
                <a16:creationId xmlns:a16="http://schemas.microsoft.com/office/drawing/2014/main" id="{21C149FF-8948-CDA9-493A-F4BE65676FB7}"/>
              </a:ext>
            </a:extLst>
          </p:cNvPr>
          <p:cNvSpPr txBox="1"/>
          <p:nvPr/>
        </p:nvSpPr>
        <p:spPr>
          <a:xfrm>
            <a:off x="8428258" y="2250831"/>
            <a:ext cx="2993331" cy="1769715"/>
          </a:xfrm>
          <a:prstGeom prst="rect">
            <a:avLst/>
          </a:prstGeom>
          <a:noFill/>
          <a:ln>
            <a:noFill/>
          </a:ln>
        </p:spPr>
        <p:txBody>
          <a:bodyPr wrap="square" lIns="0" tIns="0" rIns="0" bIns="0" rtlCol="0">
            <a:spAutoFit/>
          </a:bodyPr>
          <a:lstStyle/>
          <a:p>
            <a:r>
              <a:rPr lang="da-DK" sz="1300" i="1" dirty="0">
                <a:solidFill>
                  <a:schemeClr val="accent2"/>
                </a:solidFill>
                <a:latin typeface="Quicksand" panose="020B0604020202020204" charset="0"/>
                <a:cs typeface="Quicksand" panose="020B0604020202020204" charset="0"/>
              </a:rPr>
              <a:t>Det gode teamsamarbejde giver frihed til at prøve nogle ting af, fordi vi har tillid til hinanden og fra vores ledelse. Det gør mig mere åben for kreative løsninger, fordi vi har hinanden som team. Vi kan også mærke, at børnene er mere i ro, når de voksne er i ro.                   </a:t>
            </a:r>
          </a:p>
          <a:p>
            <a:r>
              <a:rPr lang="da-DK" sz="1300" i="1" dirty="0">
                <a:solidFill>
                  <a:schemeClr val="accent2"/>
                </a:solidFill>
                <a:latin typeface="Quicksand" panose="020B0604020202020204" charset="0"/>
                <a:cs typeface="Quicksand" panose="020B0604020202020204" charset="0"/>
              </a:rPr>
              <a:t>                                </a:t>
            </a:r>
            <a:br>
              <a:rPr lang="da-DK" sz="1300" i="1" dirty="0">
                <a:solidFill>
                  <a:schemeClr val="accent2"/>
                </a:solidFill>
                <a:latin typeface="Quicksand" panose="020B0604020202020204" charset="0"/>
                <a:cs typeface="Quicksand" panose="020B0604020202020204" charset="0"/>
              </a:rPr>
            </a:br>
            <a:r>
              <a:rPr lang="da-DK" sz="1200" dirty="0">
                <a:solidFill>
                  <a:schemeClr val="accent2"/>
                </a:solidFill>
                <a:latin typeface="Quicksand" panose="020B0604020202020204"/>
                <a:cs typeface="Amatic SC" panose="00000500000000000000" pitchFamily="2" charset="-79"/>
              </a:rPr>
              <a:t>Pædagogisk personale</a:t>
            </a:r>
          </a:p>
          <a:p>
            <a:endParaRPr lang="da-DK" sz="1000" dirty="0">
              <a:latin typeface="Quicksand" panose="020B0604020202020204" charset="0"/>
              <a:cs typeface="Quicksand" panose="020B0604020202020204" charset="0"/>
            </a:endParaRPr>
          </a:p>
        </p:txBody>
      </p:sp>
      <p:pic>
        <p:nvPicPr>
          <p:cNvPr id="24" name="Graphic 23" descr="Open quotation mark with solid fill">
            <a:extLst>
              <a:ext uri="{FF2B5EF4-FFF2-40B4-BE49-F238E27FC236}">
                <a16:creationId xmlns:a16="http://schemas.microsoft.com/office/drawing/2014/main" id="{64948A5F-1C25-58DF-A1BA-418441841C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92818" y="1442113"/>
            <a:ext cx="914400" cy="914400"/>
          </a:xfrm>
          <a:prstGeom prst="rect">
            <a:avLst/>
          </a:prstGeom>
        </p:spPr>
      </p:pic>
      <p:pic>
        <p:nvPicPr>
          <p:cNvPr id="7" name="Graphic 6" descr="Handshake outline">
            <a:extLst>
              <a:ext uri="{FF2B5EF4-FFF2-40B4-BE49-F238E27FC236}">
                <a16:creationId xmlns:a16="http://schemas.microsoft.com/office/drawing/2014/main" id="{E55F2AC6-C3C2-D5D0-013F-5C3F3EFEB3F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06318" y="347677"/>
            <a:ext cx="914400" cy="914400"/>
          </a:xfrm>
          <a:prstGeom prst="rect">
            <a:avLst/>
          </a:prstGeom>
        </p:spPr>
      </p:pic>
      <p:sp>
        <p:nvSpPr>
          <p:cNvPr id="2" name="Oval 1">
            <a:extLst>
              <a:ext uri="{FF2B5EF4-FFF2-40B4-BE49-F238E27FC236}">
                <a16:creationId xmlns:a16="http://schemas.microsoft.com/office/drawing/2014/main" id="{2D3EF730-6F2F-4354-35EE-453A1F16B7B4}"/>
              </a:ext>
            </a:extLst>
          </p:cNvPr>
          <p:cNvSpPr/>
          <p:nvPr/>
        </p:nvSpPr>
        <p:spPr>
          <a:xfrm>
            <a:off x="901242" y="4212831"/>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Tree>
    <p:extLst>
      <p:ext uri="{BB962C8B-B14F-4D97-AF65-F5344CB8AC3E}">
        <p14:creationId xmlns:p14="http://schemas.microsoft.com/office/powerpoint/2010/main" val="33821322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2</a:t>
            </a:fld>
            <a:endParaRPr lang="da-DK"/>
          </a:p>
        </p:txBody>
      </p:sp>
      <p:sp>
        <p:nvSpPr>
          <p:cNvPr id="13" name="Google Shape;843;p29">
            <a:extLst>
              <a:ext uri="{FF2B5EF4-FFF2-40B4-BE49-F238E27FC236}">
                <a16:creationId xmlns:a16="http://schemas.microsoft.com/office/drawing/2014/main" id="{3A58945A-8395-CB2D-631B-D45AD1849D01}"/>
              </a:ext>
            </a:extLst>
          </p:cNvPr>
          <p:cNvSpPr/>
          <p:nvPr/>
        </p:nvSpPr>
        <p:spPr>
          <a:xfrm>
            <a:off x="0" y="347677"/>
            <a:ext cx="12192000" cy="856671"/>
          </a:xfrm>
          <a:prstGeom prst="rect">
            <a:avLst/>
          </a:prstGeom>
          <a:solidFill>
            <a:schemeClr val="accent2"/>
          </a:solidFill>
          <a:ln>
            <a:noFill/>
          </a:ln>
        </p:spPr>
        <p:txBody>
          <a:bodyPr spcFirstLastPara="1" wrap="square" lIns="91425" tIns="0" rIns="91425" bIns="0" anchor="ctr" anchorCtr="0">
            <a:noAutofit/>
          </a:bodyPr>
          <a:lstStyle/>
          <a:p>
            <a:pPr algn="ctr"/>
            <a:r>
              <a:rPr lang="da-DK" sz="4000" b="1" dirty="0">
                <a:solidFill>
                  <a:schemeClr val="bg1"/>
                </a:solidFill>
                <a:latin typeface="Amatic SC" panose="00000500000000000000" pitchFamily="2" charset="-79"/>
                <a:cs typeface="Amatic SC" panose="00000500000000000000" pitchFamily="2" charset="-79"/>
              </a:rPr>
              <a:t>Sæt fokus på teamsamarbejdet</a:t>
            </a:r>
          </a:p>
        </p:txBody>
      </p:sp>
      <p:sp>
        <p:nvSpPr>
          <p:cNvPr id="20" name="Rectangle 19">
            <a:extLst>
              <a:ext uri="{FF2B5EF4-FFF2-40B4-BE49-F238E27FC236}">
                <a16:creationId xmlns:a16="http://schemas.microsoft.com/office/drawing/2014/main" id="{FD5F9172-8CD6-D97A-70D2-22B033776732}"/>
              </a:ext>
            </a:extLst>
          </p:cNvPr>
          <p:cNvSpPr/>
          <p:nvPr/>
        </p:nvSpPr>
        <p:spPr>
          <a:xfrm>
            <a:off x="7602280" y="2241447"/>
            <a:ext cx="4039114" cy="3554323"/>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1" name="TextBox 20">
            <a:extLst>
              <a:ext uri="{FF2B5EF4-FFF2-40B4-BE49-F238E27FC236}">
                <a16:creationId xmlns:a16="http://schemas.microsoft.com/office/drawing/2014/main" id="{5C2D9A62-A9C9-5238-D8B2-19945636F605}"/>
              </a:ext>
            </a:extLst>
          </p:cNvPr>
          <p:cNvSpPr txBox="1"/>
          <p:nvPr/>
        </p:nvSpPr>
        <p:spPr>
          <a:xfrm>
            <a:off x="7602280" y="1660394"/>
            <a:ext cx="4039114" cy="666246"/>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500" b="1">
                <a:solidFill>
                  <a:schemeClr val="bg1"/>
                </a:solidFill>
                <a:latin typeface="Quicksand" panose="020B0604020202020204"/>
                <a:cs typeface="Amatic SC" panose="00000500000000000000" pitchFamily="2" charset="-79"/>
              </a:rPr>
              <a:t>Inddrag lokale skolerapporter </a:t>
            </a:r>
            <a:br>
              <a:rPr lang="da-DK" sz="1500" b="1">
                <a:solidFill>
                  <a:schemeClr val="bg1"/>
                </a:solidFill>
                <a:latin typeface="Quicksand" panose="020B0604020202020204"/>
                <a:cs typeface="Amatic SC" panose="00000500000000000000" pitchFamily="2" charset="-79"/>
              </a:rPr>
            </a:br>
            <a:r>
              <a:rPr lang="da-DK" sz="1500" b="1">
                <a:solidFill>
                  <a:schemeClr val="bg1"/>
                </a:solidFill>
                <a:latin typeface="Quicksand" panose="020B0604020202020204"/>
                <a:cs typeface="Amatic SC" panose="00000500000000000000" pitchFamily="2" charset="-79"/>
              </a:rPr>
              <a:t>i skoleudviklingssamtalen</a:t>
            </a:r>
          </a:p>
        </p:txBody>
      </p:sp>
      <p:sp>
        <p:nvSpPr>
          <p:cNvPr id="22" name="TextBox 21">
            <a:extLst>
              <a:ext uri="{FF2B5EF4-FFF2-40B4-BE49-F238E27FC236}">
                <a16:creationId xmlns:a16="http://schemas.microsoft.com/office/drawing/2014/main" id="{1B55AF8B-78FC-E8CE-10FB-CB4259B1BAC2}"/>
              </a:ext>
            </a:extLst>
          </p:cNvPr>
          <p:cNvSpPr txBox="1"/>
          <p:nvPr/>
        </p:nvSpPr>
        <p:spPr>
          <a:xfrm>
            <a:off x="7708604" y="2471212"/>
            <a:ext cx="3854131" cy="3185487"/>
          </a:xfrm>
          <a:prstGeom prst="rect">
            <a:avLst/>
          </a:prstGeom>
          <a:noFill/>
        </p:spPr>
        <p:txBody>
          <a:bodyPr wrap="square">
            <a:spAutoFit/>
          </a:bodyPr>
          <a:lstStyle/>
          <a:p>
            <a:r>
              <a:rPr lang="da-DK" sz="1400" dirty="0">
                <a:latin typeface="Quicksand" panose="020B0604020202020204" charset="0"/>
                <a:ea typeface="Quicksand"/>
                <a:cs typeface="Quicksand" panose="020B0604020202020204" charset="0"/>
                <a:sym typeface="Quicksand"/>
              </a:rPr>
              <a:t>Under temaet </a:t>
            </a:r>
            <a:r>
              <a:rPr lang="da-DK" sz="1400" b="1" dirty="0">
                <a:latin typeface="Quicksand" panose="020B0604020202020204" charset="0"/>
                <a:ea typeface="Quicksand"/>
                <a:cs typeface="Quicksand" panose="020B0604020202020204" charset="0"/>
                <a:sym typeface="Quicksand"/>
              </a:rPr>
              <a:t>Teamets samarbejde i PLF </a:t>
            </a:r>
            <a:r>
              <a:rPr lang="da-DK" sz="1400" dirty="0">
                <a:latin typeface="Quicksand" panose="020B0604020202020204" charset="0"/>
                <a:ea typeface="Quicksand"/>
                <a:cs typeface="Quicksand" panose="020B0604020202020204" charset="0"/>
                <a:sym typeface="Quicksand"/>
              </a:rPr>
              <a:t>(s. 6 i skolerapporten)</a:t>
            </a:r>
            <a:r>
              <a:rPr lang="da-DK" sz="1400" b="1" dirty="0">
                <a:latin typeface="Quicksand" panose="020B0604020202020204" charset="0"/>
                <a:ea typeface="Quicksand"/>
                <a:cs typeface="Quicksand" panose="020B0604020202020204" charset="0"/>
                <a:sym typeface="Quicksand"/>
              </a:rPr>
              <a:t> </a:t>
            </a:r>
            <a:r>
              <a:rPr lang="da-DK" sz="1400" dirty="0">
                <a:latin typeface="Quicksand" panose="020B0604020202020204" charset="0"/>
                <a:ea typeface="Quicksand"/>
                <a:cs typeface="Quicksand" panose="020B0604020202020204" charset="0"/>
                <a:sym typeface="Quicksand"/>
              </a:rPr>
              <a:t>finder I en række spørgsmål, som vedrører pædagogisk personales oplevelse af samarbejdet i det team, de arbejder mest i. </a:t>
            </a:r>
          </a:p>
          <a:p>
            <a:endParaRPr lang="da-DK" sz="1400" dirty="0">
              <a:latin typeface="Quicksand" panose="020B0604020202020204" charset="0"/>
              <a:ea typeface="Quicksand"/>
              <a:cs typeface="Quicksand" panose="020B0604020202020204" charset="0"/>
              <a:sym typeface="Quicksand"/>
            </a:endParaRPr>
          </a:p>
          <a:p>
            <a:pPr>
              <a:spcAft>
                <a:spcPts val="600"/>
              </a:spcAft>
            </a:pPr>
            <a:r>
              <a:rPr lang="da-DK" sz="1400" dirty="0">
                <a:latin typeface="Quicksand" panose="020B0604020202020204" charset="0"/>
                <a:ea typeface="Quicksand"/>
                <a:cs typeface="Quicksand" panose="020B0604020202020204" charset="0"/>
                <a:sym typeface="Quicksand"/>
              </a:rPr>
              <a:t>Af skolerapporten fremgår det også: </a:t>
            </a:r>
          </a:p>
          <a:p>
            <a:pPr marL="185738" indent="-185738">
              <a:buFont typeface="+mj-lt"/>
              <a:buAutoNum type="arabicPeriod"/>
            </a:pPr>
            <a:r>
              <a:rPr lang="da-DK" sz="1400" dirty="0">
                <a:latin typeface="Quicksand" panose="020B0604020202020204" charset="0"/>
                <a:ea typeface="Quicksand"/>
                <a:cs typeface="Quicksand" panose="020B0604020202020204" charset="0"/>
                <a:sym typeface="Quicksand"/>
              </a:rPr>
              <a:t>Om skolens gennemsnit på disse spørgsmål er højere eller lavere end gennemsnittet blandt de øvrige skoler i kommunen. </a:t>
            </a:r>
            <a:br>
              <a:rPr lang="da-DK" sz="1400" dirty="0">
                <a:latin typeface="Quicksand" panose="020B0604020202020204" charset="0"/>
                <a:ea typeface="Quicksand"/>
                <a:cs typeface="Quicksand" panose="020B0604020202020204" charset="0"/>
                <a:sym typeface="Quicksand"/>
              </a:rPr>
            </a:br>
            <a:endParaRPr lang="da-DK" sz="1400" dirty="0">
              <a:latin typeface="Quicksand" panose="020B0604020202020204" charset="0"/>
              <a:ea typeface="Quicksand"/>
              <a:cs typeface="Quicksand" panose="020B0604020202020204" charset="0"/>
              <a:sym typeface="Quicksand"/>
            </a:endParaRPr>
          </a:p>
          <a:p>
            <a:pPr marL="185738" indent="-185738">
              <a:buFont typeface="+mj-lt"/>
              <a:buAutoNum type="arabicPeriod"/>
            </a:pPr>
            <a:r>
              <a:rPr lang="da-DK" sz="1400" dirty="0">
                <a:latin typeface="Quicksand" panose="020B0604020202020204" charset="0"/>
                <a:ea typeface="Quicksand"/>
                <a:cs typeface="Quicksand" panose="020B0604020202020204" charset="0"/>
                <a:sym typeface="Quicksand"/>
              </a:rPr>
              <a:t>Om der er sket en udvikling i pædagogisk personales oplevelse af samarbejdet i professionelle læringsfællesskaber det </a:t>
            </a:r>
            <a:br>
              <a:rPr lang="da-DK" sz="1400" dirty="0">
                <a:latin typeface="Quicksand" panose="020B0604020202020204" charset="0"/>
                <a:ea typeface="Quicksand"/>
                <a:cs typeface="Quicksand" panose="020B0604020202020204" charset="0"/>
                <a:sym typeface="Quicksand"/>
              </a:rPr>
            </a:br>
            <a:r>
              <a:rPr lang="da-DK" sz="1400" dirty="0">
                <a:latin typeface="Quicksand" panose="020B0604020202020204" charset="0"/>
                <a:ea typeface="Quicksand"/>
                <a:cs typeface="Quicksand" panose="020B0604020202020204" charset="0"/>
                <a:sym typeface="Quicksand"/>
              </a:rPr>
              <a:t>seneste år. </a:t>
            </a:r>
            <a:endParaRPr lang="da-DK" sz="1400" dirty="0">
              <a:highlight>
                <a:srgbClr val="FFFF00"/>
              </a:highlight>
            </a:endParaRPr>
          </a:p>
        </p:txBody>
      </p:sp>
      <p:pic>
        <p:nvPicPr>
          <p:cNvPr id="23" name="Graphic 22" descr="Folder Search outline">
            <a:extLst>
              <a:ext uri="{FF2B5EF4-FFF2-40B4-BE49-F238E27FC236}">
                <a16:creationId xmlns:a16="http://schemas.microsoft.com/office/drawing/2014/main" id="{4F47ECD1-AEE4-E462-71FE-AFD0C864FD7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08604" y="1723517"/>
            <a:ext cx="540000" cy="540000"/>
          </a:xfrm>
          <a:prstGeom prst="rect">
            <a:avLst/>
          </a:prstGeom>
        </p:spPr>
      </p:pic>
      <p:sp>
        <p:nvSpPr>
          <p:cNvPr id="28" name="Google Shape;847;p29">
            <a:extLst>
              <a:ext uri="{FF2B5EF4-FFF2-40B4-BE49-F238E27FC236}">
                <a16:creationId xmlns:a16="http://schemas.microsoft.com/office/drawing/2014/main" id="{B6D26167-27C4-C8C2-1C68-80E7307FF83B}"/>
              </a:ext>
            </a:extLst>
          </p:cNvPr>
          <p:cNvSpPr txBox="1"/>
          <p:nvPr/>
        </p:nvSpPr>
        <p:spPr>
          <a:xfrm>
            <a:off x="901242" y="1262077"/>
            <a:ext cx="6192502" cy="5407080"/>
          </a:xfrm>
          <a:prstGeom prst="rect">
            <a:avLst/>
          </a:prstGeom>
          <a:noFill/>
          <a:ln>
            <a:noFill/>
          </a:ln>
        </p:spPr>
        <p:txBody>
          <a:bodyPr spcFirstLastPara="1" wrap="square" lIns="0" tIns="180000" rIns="0" bIns="0" anchor="t" anchorCtr="0">
            <a:noAutofit/>
          </a:bodyPr>
          <a:lstStyle/>
          <a:p>
            <a:r>
              <a:rPr lang="da-DK" sz="2200" b="1" dirty="0">
                <a:solidFill>
                  <a:srgbClr val="273F68"/>
                </a:solidFill>
                <a:latin typeface="Amatic SC"/>
                <a:cs typeface="Amatic SC"/>
                <a:sym typeface="Quicksand"/>
              </a:rPr>
              <a:t>Forslag til proces: </a:t>
            </a:r>
          </a:p>
          <a:p>
            <a:endParaRPr lang="da-DK" sz="1400" dirty="0">
              <a:latin typeface="Quicksand" panose="020B0604020202020204"/>
              <a:ea typeface="Quicksand" panose="020B0604020202020204"/>
              <a:cs typeface="Quicksand" panose="020B0604020202020204" charset="0"/>
              <a:sym typeface="Quicksand"/>
            </a:endParaRPr>
          </a:p>
          <a:p>
            <a:pPr lvl="1"/>
            <a:r>
              <a:rPr lang="da-DK" sz="1400" b="1" dirty="0">
                <a:latin typeface="Quicksand" panose="020B0604020202020204"/>
                <a:ea typeface="Quicksand" panose="020B0604020202020204"/>
                <a:cs typeface="Quicksand" panose="020B0604020202020204" charset="0"/>
                <a:sym typeface="Quicksand"/>
              </a:rPr>
              <a:t>Under</a:t>
            </a:r>
            <a:r>
              <a:rPr lang="da-DK" sz="1400" dirty="0">
                <a:latin typeface="Quicksand" panose="020B0604020202020204"/>
                <a:ea typeface="Quicksand" panose="020B0604020202020204"/>
                <a:cs typeface="Quicksand" panose="020B0604020202020204" charset="0"/>
                <a:sym typeface="Quicksand"/>
              </a:rPr>
              <a:t> </a:t>
            </a:r>
            <a:r>
              <a:rPr lang="da-DK" sz="1400" b="1" dirty="0">
                <a:latin typeface="Quicksand" panose="020B0604020202020204"/>
                <a:ea typeface="Quicksand" panose="020B0604020202020204"/>
                <a:cs typeface="Quicksand" panose="020B0604020202020204" charset="0"/>
                <a:sym typeface="Quicksand"/>
              </a:rPr>
              <a:t>skoleudviklingssamtalen</a:t>
            </a:r>
            <a:r>
              <a:rPr lang="da-DK" sz="1400" dirty="0">
                <a:latin typeface="Quicksand" panose="020B0604020202020204"/>
                <a:ea typeface="Quicksand" panose="020B0604020202020204"/>
                <a:cs typeface="Quicksand" panose="020B0604020202020204" charset="0"/>
                <a:sym typeface="Quicksand"/>
              </a:rPr>
              <a:t> mellem ledelsen og forvaltningen indleder forvaltningen en snak om, hvordan ledelsen kan sætte endnu mere fokus på at understøtte det gode teamsamarbejde. Fx gennem spørgsmål som: </a:t>
            </a:r>
          </a:p>
          <a:p>
            <a:pPr marL="668338" lvl="1" indent="-211138">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ilke tegn ser I på, at I lykkes med at skabe gode samarbejder i teamene?</a:t>
            </a:r>
          </a:p>
          <a:p>
            <a:pPr marL="668338" lvl="1" indent="-211138">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ordan evaluerer I løbende teamsamarbejdet i de enkelte teams sammen med teamene? </a:t>
            </a:r>
          </a:p>
          <a:p>
            <a:pPr marL="668338" lvl="1" indent="-211138">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ordan understøtter I, at teamene prioriterer tid til at reflektere over praksis frem for kun at tale om ‘drift’?</a:t>
            </a:r>
          </a:p>
          <a:p>
            <a:pPr marL="668338" lvl="1" indent="-211138">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ilke udfordringer oplever I, når I skal understøtte, at skolens teams samarbejder som professionelle læringsfællesskaber?</a:t>
            </a:r>
          </a:p>
          <a:p>
            <a:pPr marL="668338" lvl="1" indent="-211138">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ilke refleksioner gør I jer, når I ser data i jeres egen skolerapport?</a:t>
            </a:r>
          </a:p>
          <a:p>
            <a:pPr lvl="1"/>
            <a:endParaRPr lang="da-DK" sz="1400" dirty="0">
              <a:latin typeface="Quicksand" panose="020B0604020202020204"/>
              <a:ea typeface="Quicksand" panose="020B0604020202020204"/>
              <a:cs typeface="Quicksand" panose="020B0604020202020204" charset="0"/>
              <a:sym typeface="Quicksand"/>
            </a:endParaRPr>
          </a:p>
          <a:p>
            <a:pPr lvl="1"/>
            <a:r>
              <a:rPr lang="da-DK" sz="1400" dirty="0">
                <a:latin typeface="Quicksand" panose="020B0604020202020204"/>
              </a:rPr>
              <a:t>Forvaltningen og ledelsen sætter på baggrund af snakken fokus på de </a:t>
            </a:r>
            <a:br>
              <a:rPr lang="da-DK" sz="1400" dirty="0">
                <a:latin typeface="Quicksand" panose="020B0604020202020204"/>
              </a:rPr>
            </a:br>
            <a:r>
              <a:rPr lang="da-DK" sz="1400" b="1" dirty="0">
                <a:latin typeface="Quicksand" panose="020B0604020202020204"/>
              </a:rPr>
              <a:t>næste gode skridt </a:t>
            </a:r>
            <a:r>
              <a:rPr lang="da-DK" sz="1400" dirty="0">
                <a:latin typeface="Quicksand" panose="020B0604020202020204"/>
              </a:rPr>
              <a:t>i arbejdet med at styrke det professionelle </a:t>
            </a:r>
            <a:br>
              <a:rPr lang="da-DK" sz="1400" dirty="0">
                <a:latin typeface="Quicksand" panose="020B0604020202020204"/>
              </a:rPr>
            </a:br>
            <a:r>
              <a:rPr lang="da-DK" sz="1400" dirty="0">
                <a:latin typeface="Quicksand" panose="020B0604020202020204"/>
              </a:rPr>
              <a:t>teamsamarbejde på skolen.</a:t>
            </a:r>
          </a:p>
          <a:p>
            <a:pPr lvl="1"/>
            <a:endParaRPr lang="da-DK" sz="1400" dirty="0">
              <a:latin typeface="Quicksand" panose="020B0604020202020204"/>
              <a:ea typeface="Quicksand" panose="020B0604020202020204"/>
              <a:cs typeface="Quicksand" panose="020B0604020202020204" charset="0"/>
              <a:sym typeface="Quicksand"/>
            </a:endParaRPr>
          </a:p>
          <a:p>
            <a:pPr lvl="1"/>
            <a:r>
              <a:rPr lang="da-DK" sz="1400" dirty="0">
                <a:latin typeface="Quicksand" panose="020B0604020202020204"/>
                <a:ea typeface="Quicksand" panose="020B0604020202020204"/>
                <a:cs typeface="Quicksand" panose="020B0604020202020204" charset="0"/>
                <a:sym typeface="Quicksand"/>
              </a:rPr>
              <a:t>Aftal sammen, hvordan og hvornår I vil </a:t>
            </a:r>
            <a:r>
              <a:rPr lang="da-DK" sz="1400" b="1" dirty="0">
                <a:latin typeface="Quicksand" panose="020B0604020202020204"/>
                <a:ea typeface="Quicksand" panose="020B0604020202020204"/>
                <a:cs typeface="Quicksand" panose="020B0604020202020204" charset="0"/>
                <a:sym typeface="Quicksand"/>
              </a:rPr>
              <a:t>følge</a:t>
            </a:r>
            <a:r>
              <a:rPr lang="da-DK" sz="1400" dirty="0">
                <a:latin typeface="Quicksand" panose="020B0604020202020204"/>
                <a:ea typeface="Quicksand" panose="020B0604020202020204"/>
                <a:cs typeface="Quicksand" panose="020B0604020202020204" charset="0"/>
                <a:sym typeface="Quicksand"/>
              </a:rPr>
              <a:t> </a:t>
            </a:r>
            <a:r>
              <a:rPr lang="da-DK" sz="1400" b="1" dirty="0">
                <a:latin typeface="Quicksand" panose="020B0604020202020204"/>
                <a:ea typeface="Quicksand" panose="020B0604020202020204"/>
                <a:cs typeface="Quicksand" panose="020B0604020202020204" charset="0"/>
                <a:sym typeface="Quicksand"/>
              </a:rPr>
              <a:t>op</a:t>
            </a:r>
            <a:r>
              <a:rPr lang="da-DK" sz="1400" dirty="0">
                <a:latin typeface="Quicksand" panose="020B0604020202020204"/>
                <a:ea typeface="Quicksand" panose="020B0604020202020204"/>
                <a:cs typeface="Quicksand" panose="020B0604020202020204" charset="0"/>
                <a:sym typeface="Quicksand"/>
              </a:rPr>
              <a:t> på jeres drøftelser.</a:t>
            </a:r>
            <a:br>
              <a:rPr lang="da-DK" sz="1400" dirty="0">
                <a:latin typeface="Quicksand" panose="020B0604020202020204"/>
                <a:ea typeface="Quicksand" panose="020B0604020202020204"/>
                <a:cs typeface="Quicksand" panose="020B0604020202020204" charset="0"/>
                <a:sym typeface="Quicksand"/>
              </a:rPr>
            </a:br>
            <a:endParaRPr lang="da-DK" sz="1400" dirty="0">
              <a:latin typeface="Quicksand" panose="020B0604020202020204"/>
              <a:ea typeface="Quicksand" panose="020B0604020202020204"/>
              <a:cs typeface="Quicksand" panose="020B0604020202020204" charset="0"/>
              <a:sym typeface="Quicksand"/>
            </a:endParaRPr>
          </a:p>
          <a:p>
            <a:pPr lvl="1"/>
            <a:r>
              <a:rPr lang="da-DK" sz="1400" dirty="0">
                <a:latin typeface="Quicksand" panose="020B0604020202020204"/>
              </a:rPr>
              <a:t>På næste side fremgår eksempel på, hvordan ledelsen kan evaluere teamsamarbejdet med det enkelte team på skolen.</a:t>
            </a:r>
            <a:br>
              <a:rPr lang="da-DK" sz="1400" dirty="0">
                <a:latin typeface="Quicksand" panose="020B0604020202020204"/>
                <a:ea typeface="Quicksand" panose="020B0604020202020204"/>
                <a:cs typeface="Quicksand" panose="020B0604020202020204" charset="0"/>
                <a:sym typeface="Quicksand"/>
              </a:rPr>
            </a:br>
            <a:endParaRPr lang="da-DK" sz="1400" dirty="0">
              <a:latin typeface="Quicksand" panose="020B0604020202020204"/>
              <a:ea typeface="Quicksand" panose="020B0604020202020204"/>
              <a:cs typeface="Quicksand" panose="020B0604020202020204" charset="0"/>
              <a:sym typeface="Quicksand"/>
            </a:endParaRPr>
          </a:p>
          <a:p>
            <a:pPr lvl="1"/>
            <a:endParaRPr lang="da-DK" sz="1500" dirty="0">
              <a:latin typeface="Quicksand" panose="020B0604020202020204" charset="0"/>
              <a:ea typeface="Quicksand"/>
              <a:cs typeface="Quicksand" panose="020B0604020202020204" charset="0"/>
              <a:sym typeface="Quicksand"/>
            </a:endParaRPr>
          </a:p>
          <a:p>
            <a:pPr lvl="1"/>
            <a:endParaRPr lang="da-DK" sz="1500" dirty="0">
              <a:latin typeface="Quicksand" panose="020B0604020202020204" charset="0"/>
              <a:ea typeface="Quicksand"/>
              <a:cs typeface="Quicksand" panose="020B0604020202020204" charset="0"/>
              <a:sym typeface="Quicksand"/>
            </a:endParaRPr>
          </a:p>
          <a:p>
            <a:pPr lvl="1"/>
            <a:endParaRPr lang="da-DK" sz="1500" dirty="0">
              <a:latin typeface="Quicksand" panose="020B0604020202020204" charset="0"/>
              <a:ea typeface="Quicksand"/>
              <a:cs typeface="Quicksand" panose="020B0604020202020204" charset="0"/>
              <a:sym typeface="Quicksand"/>
            </a:endParaRPr>
          </a:p>
          <a:p>
            <a:endParaRPr lang="da-DK" sz="1600" dirty="0">
              <a:latin typeface="Quicksand" panose="020B0604020202020204" charset="0"/>
              <a:ea typeface="Quicksand"/>
              <a:cs typeface="Quicksand" panose="020B0604020202020204" charset="0"/>
              <a:sym typeface="Quicksand"/>
            </a:endParaRPr>
          </a:p>
          <a:p>
            <a:pPr lvl="0" algn="l">
              <a:lnSpc>
                <a:spcPct val="150000"/>
              </a:lnSpc>
              <a:spcBef>
                <a:spcPts val="0"/>
              </a:spcBef>
              <a:spcAft>
                <a:spcPts val="0"/>
              </a:spcAft>
            </a:pPr>
            <a:endParaRPr lang="da-DK" sz="1600" dirty="0">
              <a:latin typeface="Quicksand"/>
              <a:ea typeface="Quicksand"/>
              <a:cs typeface="Quicksand"/>
              <a:sym typeface="Quicksand"/>
            </a:endParaRPr>
          </a:p>
          <a:p>
            <a:pPr lvl="0" algn="l">
              <a:lnSpc>
                <a:spcPct val="150000"/>
              </a:lnSpc>
              <a:spcBef>
                <a:spcPts val="0"/>
              </a:spcBef>
              <a:spcAft>
                <a:spcPts val="0"/>
              </a:spcAft>
            </a:pPr>
            <a:endParaRPr lang="da-DK" dirty="0">
              <a:latin typeface="Quicksand"/>
              <a:ea typeface="Quicksand"/>
              <a:cs typeface="Quicksand"/>
              <a:sym typeface="Quicksand"/>
            </a:endParaRPr>
          </a:p>
        </p:txBody>
      </p:sp>
      <p:sp>
        <p:nvSpPr>
          <p:cNvPr id="29" name="Oval 28">
            <a:extLst>
              <a:ext uri="{FF2B5EF4-FFF2-40B4-BE49-F238E27FC236}">
                <a16:creationId xmlns:a16="http://schemas.microsoft.com/office/drawing/2014/main" id="{A2D767FF-8656-29A8-D854-3F1E123C9E4F}"/>
              </a:ext>
            </a:extLst>
          </p:cNvPr>
          <p:cNvSpPr/>
          <p:nvPr/>
        </p:nvSpPr>
        <p:spPr>
          <a:xfrm>
            <a:off x="901242" y="1921673"/>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1</a:t>
            </a:r>
            <a:endParaRPr lang="da-DK" sz="2000" noProof="0">
              <a:latin typeface="Quicksand" panose="020B0604020202020204" charset="0"/>
              <a:cs typeface="Quicksand" panose="020B0604020202020204" charset="0"/>
            </a:endParaRPr>
          </a:p>
        </p:txBody>
      </p:sp>
      <p:sp>
        <p:nvSpPr>
          <p:cNvPr id="30" name="Oval 29">
            <a:extLst>
              <a:ext uri="{FF2B5EF4-FFF2-40B4-BE49-F238E27FC236}">
                <a16:creationId xmlns:a16="http://schemas.microsoft.com/office/drawing/2014/main" id="{CDB36640-FCEF-F4EB-BEC1-73AFE37132E1}"/>
              </a:ext>
            </a:extLst>
          </p:cNvPr>
          <p:cNvSpPr/>
          <p:nvPr/>
        </p:nvSpPr>
        <p:spPr>
          <a:xfrm>
            <a:off x="901242" y="4688153"/>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dirty="0">
                <a:latin typeface="Quicksand" panose="020B0604020202020204" charset="0"/>
                <a:cs typeface="Quicksand" panose="020B0604020202020204" charset="0"/>
              </a:rPr>
              <a:t>2</a:t>
            </a:r>
            <a:endParaRPr lang="da-DK" sz="2000" noProof="0" dirty="0">
              <a:latin typeface="Quicksand" panose="020B0604020202020204" charset="0"/>
              <a:cs typeface="Quicksand" panose="020B0604020202020204" charset="0"/>
            </a:endParaRPr>
          </a:p>
        </p:txBody>
      </p:sp>
      <p:sp>
        <p:nvSpPr>
          <p:cNvPr id="31" name="Oval 30">
            <a:extLst>
              <a:ext uri="{FF2B5EF4-FFF2-40B4-BE49-F238E27FC236}">
                <a16:creationId xmlns:a16="http://schemas.microsoft.com/office/drawing/2014/main" id="{F0BBDC9C-76F2-B524-F8A3-3C56ACDF9ECA}"/>
              </a:ext>
            </a:extLst>
          </p:cNvPr>
          <p:cNvSpPr/>
          <p:nvPr/>
        </p:nvSpPr>
        <p:spPr>
          <a:xfrm>
            <a:off x="901242" y="5519904"/>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3</a:t>
            </a:r>
            <a:endParaRPr lang="da-DK" sz="2000" noProof="0" dirty="0">
              <a:latin typeface="Quicksand" panose="020B0604020202020204" charset="0"/>
              <a:cs typeface="Quicksand" panose="020B0604020202020204" charset="0"/>
            </a:endParaRPr>
          </a:p>
        </p:txBody>
      </p:sp>
      <p:pic>
        <p:nvPicPr>
          <p:cNvPr id="32" name="Graphic 31" descr="Handshake outline">
            <a:extLst>
              <a:ext uri="{FF2B5EF4-FFF2-40B4-BE49-F238E27FC236}">
                <a16:creationId xmlns:a16="http://schemas.microsoft.com/office/drawing/2014/main" id="{B235FEFC-8700-D0E4-8BC3-49923EFBAC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06318" y="347677"/>
            <a:ext cx="914400" cy="914400"/>
          </a:xfrm>
          <a:prstGeom prst="rect">
            <a:avLst/>
          </a:prstGeom>
        </p:spPr>
      </p:pic>
      <p:sp>
        <p:nvSpPr>
          <p:cNvPr id="2" name="Oval 1">
            <a:extLst>
              <a:ext uri="{FF2B5EF4-FFF2-40B4-BE49-F238E27FC236}">
                <a16:creationId xmlns:a16="http://schemas.microsoft.com/office/drawing/2014/main" id="{8D9F6A46-A833-CAA2-A138-EFB3A99A61CD}"/>
              </a:ext>
            </a:extLst>
          </p:cNvPr>
          <p:cNvSpPr/>
          <p:nvPr/>
        </p:nvSpPr>
        <p:spPr>
          <a:xfrm>
            <a:off x="901242" y="5975493"/>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dirty="0">
                <a:latin typeface="Quicksand" panose="020B0604020202020204" charset="0"/>
                <a:cs typeface="Quicksand" panose="020B0604020202020204" charset="0"/>
              </a:rPr>
              <a:t>4</a:t>
            </a:r>
            <a:endParaRPr lang="da-DK" sz="2000" noProof="0" dirty="0">
              <a:latin typeface="Quicksand" panose="020B0604020202020204" charset="0"/>
              <a:cs typeface="Quicksand" panose="020B0604020202020204" charset="0"/>
            </a:endParaRPr>
          </a:p>
        </p:txBody>
      </p:sp>
    </p:spTree>
    <p:extLst>
      <p:ext uri="{BB962C8B-B14F-4D97-AF65-F5344CB8AC3E}">
        <p14:creationId xmlns:p14="http://schemas.microsoft.com/office/powerpoint/2010/main" val="3428206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3</a:t>
            </a:fld>
            <a:endParaRPr lang="da-DK"/>
          </a:p>
        </p:txBody>
      </p:sp>
      <p:sp>
        <p:nvSpPr>
          <p:cNvPr id="2" name="Google Shape;843;p29">
            <a:extLst>
              <a:ext uri="{FF2B5EF4-FFF2-40B4-BE49-F238E27FC236}">
                <a16:creationId xmlns:a16="http://schemas.microsoft.com/office/drawing/2014/main" id="{0524E856-2585-CE80-CD30-A2732846480B}"/>
              </a:ext>
            </a:extLst>
          </p:cNvPr>
          <p:cNvSpPr/>
          <p:nvPr/>
        </p:nvSpPr>
        <p:spPr>
          <a:xfrm>
            <a:off x="0" y="347492"/>
            <a:ext cx="12191999" cy="856994"/>
          </a:xfrm>
          <a:prstGeom prst="rect">
            <a:avLst/>
          </a:prstGeom>
          <a:solidFill>
            <a:schemeClr val="accent2"/>
          </a:solidFill>
          <a:ln>
            <a:noFill/>
          </a:ln>
        </p:spPr>
        <p:txBody>
          <a:bodyPr spcFirstLastPara="1" wrap="square" lIns="91425" tIns="0" rIns="91425" bIns="0" anchor="ctr" anchorCtr="0">
            <a:noAutofit/>
          </a:bodyPr>
          <a:lstStyle/>
          <a:p>
            <a:pPr algn="ctr"/>
            <a:r>
              <a:rPr lang="da-DK" sz="4000" b="1" dirty="0">
                <a:solidFill>
                  <a:schemeClr val="bg1"/>
                </a:solidFill>
                <a:latin typeface="Amatic SC" panose="00000500000000000000" pitchFamily="2" charset="-79"/>
                <a:cs typeface="Amatic SC" panose="00000500000000000000" pitchFamily="2" charset="-79"/>
              </a:rPr>
              <a:t>Sæt fokus på teamsamarbejdet</a:t>
            </a:r>
          </a:p>
        </p:txBody>
      </p:sp>
      <p:sp>
        <p:nvSpPr>
          <p:cNvPr id="21" name="TextBox 20">
            <a:extLst>
              <a:ext uri="{FF2B5EF4-FFF2-40B4-BE49-F238E27FC236}">
                <a16:creationId xmlns:a16="http://schemas.microsoft.com/office/drawing/2014/main" id="{39B6D923-4774-F051-0402-6F5501CAB4AA}"/>
              </a:ext>
            </a:extLst>
          </p:cNvPr>
          <p:cNvSpPr txBox="1"/>
          <p:nvPr/>
        </p:nvSpPr>
        <p:spPr>
          <a:xfrm>
            <a:off x="1380982" y="1948214"/>
            <a:ext cx="9254188" cy="3631763"/>
          </a:xfrm>
          <a:prstGeom prst="rect">
            <a:avLst/>
          </a:prstGeom>
          <a:noFill/>
        </p:spPr>
        <p:txBody>
          <a:bodyPr wrap="square" lIns="0" tIns="0" rIns="0" bIns="0">
            <a:spAutoFit/>
          </a:bodyPr>
          <a:lstStyle/>
          <a:p>
            <a:r>
              <a:rPr lang="da-DK" sz="1400" dirty="0">
                <a:latin typeface="Quicksand" panose="020B0604020202020204"/>
                <a:ea typeface="Quicksand" panose="020B0604020202020204"/>
                <a:cs typeface="Quicksand" panose="020B0604020202020204" charset="0"/>
                <a:sym typeface="Quicksand"/>
              </a:rPr>
              <a:t>Ledelsen og pædagogisk personale kan sammen evaluere samarbejdet i teamene (fx en gang halvårligt) </a:t>
            </a:r>
            <a:br>
              <a:rPr lang="da-DK" sz="1400" dirty="0">
                <a:latin typeface="Quicksand" panose="020B0604020202020204"/>
                <a:ea typeface="Quicksand" panose="020B0604020202020204"/>
                <a:cs typeface="Quicksand" panose="020B0604020202020204" charset="0"/>
                <a:sym typeface="Quicksand"/>
              </a:rPr>
            </a:br>
            <a:r>
              <a:rPr lang="da-DK" sz="1400" dirty="0">
                <a:latin typeface="Quicksand" panose="020B0604020202020204"/>
                <a:ea typeface="Quicksand" panose="020B0604020202020204"/>
                <a:cs typeface="Quicksand" panose="020B0604020202020204" charset="0"/>
                <a:sym typeface="Quicksand"/>
              </a:rPr>
              <a:t>gennem arbejdet med et spindelvæv: </a:t>
            </a:r>
            <a:br>
              <a:rPr lang="da-DK" sz="1400" dirty="0">
                <a:latin typeface="Quicksand" panose="020B0604020202020204"/>
                <a:ea typeface="Quicksand" panose="020B0604020202020204"/>
                <a:cs typeface="Quicksand" panose="020B0604020202020204" charset="0"/>
                <a:sym typeface="Quicksand"/>
              </a:rPr>
            </a:br>
            <a:endParaRPr lang="da-DK" sz="1400" dirty="0">
              <a:latin typeface="Quicksand" panose="020B0604020202020204"/>
              <a:ea typeface="Quicksand" panose="020B0604020202020204"/>
              <a:cs typeface="Quicksand" panose="020B0604020202020204" charset="0"/>
              <a:sym typeface="Quicksand"/>
            </a:endParaRPr>
          </a:p>
          <a:p>
            <a:r>
              <a:rPr lang="da-DK" sz="1400" b="1" dirty="0">
                <a:latin typeface="Quicksand" panose="020B0604020202020204"/>
                <a:ea typeface="Quicksand" panose="020B0604020202020204"/>
                <a:cs typeface="Quicksand" panose="020B0604020202020204" charset="0"/>
                <a:sym typeface="Quicksand"/>
              </a:rPr>
              <a:t>Præsenter </a:t>
            </a:r>
            <a:r>
              <a:rPr lang="da-DK" sz="1400" dirty="0">
                <a:latin typeface="Quicksand" panose="020B0604020202020204"/>
                <a:ea typeface="Quicksand" panose="020B0604020202020204"/>
                <a:cs typeface="Quicksand" panose="020B0604020202020204" charset="0"/>
                <a:sym typeface="Quicksand"/>
              </a:rPr>
              <a:t>de fem forskellige udsagn i spindelvævet for teamet (se skabelon på næste side).</a:t>
            </a:r>
            <a:br>
              <a:rPr lang="da-DK" sz="1400" b="1" dirty="0">
                <a:latin typeface="Quicksand" panose="020B0604020202020204"/>
                <a:ea typeface="Quicksand" panose="020B0604020202020204"/>
                <a:cs typeface="Quicksand" panose="020B0604020202020204" charset="0"/>
                <a:sym typeface="Quicksand"/>
              </a:rPr>
            </a:br>
            <a:endParaRPr lang="da-DK" sz="1400" dirty="0">
              <a:latin typeface="Quicksand" panose="020B0604020202020204"/>
              <a:ea typeface="Quicksand" panose="020B0604020202020204"/>
              <a:cs typeface="Quicksand" panose="020B0604020202020204" charset="0"/>
              <a:sym typeface="Quicksand"/>
            </a:endParaRPr>
          </a:p>
          <a:p>
            <a:r>
              <a:rPr lang="da-DK" sz="1400" dirty="0">
                <a:effectLst/>
                <a:latin typeface="Quicksand" panose="020B0604020202020204"/>
                <a:ea typeface="Calibri" panose="020F0502020204030204" pitchFamily="34" charset="0"/>
                <a:cs typeface="Arial" panose="020B0604020202020204" pitchFamily="34" charset="0"/>
              </a:rPr>
              <a:t>Teammedlemmerne udfylder hver især et spindelvæv, hvorefter ledelsen spørger ind til hver enkelt dimension: </a:t>
            </a:r>
          </a:p>
          <a:p>
            <a:pPr marL="452438" lvl="1" indent="-227013">
              <a:spcAft>
                <a:spcPts val="800"/>
              </a:spcAft>
              <a:buFont typeface="+mj-lt"/>
              <a:buAutoNum type="alphaLcPeriod"/>
            </a:pPr>
            <a:r>
              <a:rPr lang="da-DK" sz="1400" b="1" dirty="0">
                <a:effectLst/>
                <a:latin typeface="Quicksand" panose="020B0604020202020204"/>
                <a:ea typeface="Calibri" panose="020F0502020204030204" pitchFamily="34" charset="0"/>
                <a:cs typeface="Arial" panose="020B0604020202020204" pitchFamily="34" charset="0"/>
              </a:rPr>
              <a:t>Hvor</a:t>
            </a:r>
            <a:r>
              <a:rPr lang="da-DK" sz="1400" dirty="0">
                <a:effectLst/>
                <a:latin typeface="Quicksand" panose="020B0604020202020204"/>
                <a:ea typeface="Calibri" panose="020F0502020204030204" pitchFamily="34" charset="0"/>
                <a:cs typeface="Arial" panose="020B0604020202020204" pitchFamily="34" charset="0"/>
              </a:rPr>
              <a:t> vurderer I, at jeres praksis placerer sig? </a:t>
            </a:r>
          </a:p>
          <a:p>
            <a:pPr marL="452438" lvl="1" indent="-227013">
              <a:buFont typeface="+mj-lt"/>
              <a:buAutoNum type="alphaLcPeriod"/>
            </a:pPr>
            <a:r>
              <a:rPr lang="da-DK" sz="1400" b="1" dirty="0">
                <a:latin typeface="Quicksand" panose="020B0604020202020204"/>
                <a:ea typeface="Calibri" panose="020F0502020204030204" pitchFamily="34" charset="0"/>
                <a:cs typeface="Arial" panose="020B0604020202020204" pitchFamily="34" charset="0"/>
              </a:rPr>
              <a:t>Hvorfor</a:t>
            </a:r>
            <a:r>
              <a:rPr lang="da-DK" sz="1400" dirty="0">
                <a:latin typeface="Quicksand" panose="020B0604020202020204"/>
                <a:ea typeface="Calibri" panose="020F0502020204030204" pitchFamily="34" charset="0"/>
                <a:cs typeface="Arial" panose="020B0604020202020204" pitchFamily="34" charset="0"/>
              </a:rPr>
              <a:t> vurderer I, at jeres praksis placerer sig der?</a:t>
            </a:r>
          </a:p>
          <a:p>
            <a:pPr marL="668338" lvl="2" indent="-215900">
              <a:spcBef>
                <a:spcPts val="300"/>
              </a:spcBef>
              <a:buAutoNum type="arabicPeriod"/>
            </a:pPr>
            <a:r>
              <a:rPr lang="da-DK" sz="1400" dirty="0">
                <a:latin typeface="Quicksand" panose="020B0604020202020204"/>
              </a:rPr>
              <a:t>Kan I komme med eksempler fra hverdagen, hvor det kommer til udtryk? </a:t>
            </a:r>
          </a:p>
          <a:p>
            <a:pPr marL="668338" lvl="2" indent="-215900">
              <a:spcBef>
                <a:spcPts val="300"/>
              </a:spcBef>
              <a:buAutoNum type="arabicPeriod"/>
            </a:pPr>
            <a:r>
              <a:rPr lang="da-DK" sz="1400" dirty="0">
                <a:latin typeface="Quicksand" panose="020B0604020202020204"/>
              </a:rPr>
              <a:t>Hvad skal I som team gøre anderledes, hvis I skal styrke jeres praksis inden for dette område?</a:t>
            </a:r>
          </a:p>
          <a:p>
            <a:pPr marL="452438" lvl="2" indent="-227013"/>
            <a:endParaRPr lang="da-DK" sz="1400" dirty="0">
              <a:latin typeface="Quicksand" panose="020B0604020202020204"/>
            </a:endParaRPr>
          </a:p>
          <a:p>
            <a:pPr marL="452438" lvl="1" indent="-227013">
              <a:spcAft>
                <a:spcPts val="800"/>
              </a:spcAft>
              <a:buFont typeface="+mj-lt"/>
              <a:buAutoNum type="alphaLcPeriod"/>
            </a:pPr>
            <a:r>
              <a:rPr lang="da-DK" sz="1400" b="1" dirty="0">
                <a:effectLst/>
                <a:latin typeface="Quicksand" panose="020B0604020202020204"/>
                <a:ea typeface="Calibri" panose="020F0502020204030204" pitchFamily="34" charset="0"/>
                <a:cs typeface="Arial" panose="020B0604020202020204" pitchFamily="34" charset="0"/>
              </a:rPr>
              <a:t>Hvad </a:t>
            </a:r>
            <a:r>
              <a:rPr lang="da-DK" sz="1400" dirty="0">
                <a:effectLst/>
                <a:latin typeface="Quicksand" panose="020B0604020202020204"/>
                <a:ea typeface="Calibri" panose="020F0502020204030204" pitchFamily="34" charset="0"/>
                <a:cs typeface="Arial" panose="020B0604020202020204" pitchFamily="34" charset="0"/>
              </a:rPr>
              <a:t>kan I som team gøre for at styrke jeres samarbejde fremadrettet? </a:t>
            </a:r>
            <a:br>
              <a:rPr lang="da-DK" sz="1400" dirty="0">
                <a:effectLst/>
                <a:latin typeface="Quicksand" panose="020B0604020202020204"/>
                <a:ea typeface="Calibri" panose="020F0502020204030204" pitchFamily="34" charset="0"/>
                <a:cs typeface="Arial" panose="020B0604020202020204" pitchFamily="34" charset="0"/>
              </a:rPr>
            </a:br>
            <a:r>
              <a:rPr lang="da-DK" sz="1400" dirty="0">
                <a:effectLst/>
                <a:latin typeface="Quicksand" panose="020B0604020202020204"/>
                <a:ea typeface="Calibri" panose="020F0502020204030204" pitchFamily="34" charset="0"/>
                <a:cs typeface="Arial" panose="020B0604020202020204" pitchFamily="34" charset="0"/>
              </a:rPr>
              <a:t>Og hvad kan I som ledelse gøre for at understøtte det?</a:t>
            </a:r>
            <a:br>
              <a:rPr lang="da-DK" sz="1400" dirty="0">
                <a:effectLst/>
                <a:latin typeface="Quicksand" panose="020B0604020202020204"/>
                <a:ea typeface="Calibri" panose="020F0502020204030204" pitchFamily="34" charset="0"/>
                <a:cs typeface="Arial" panose="020B0604020202020204" pitchFamily="34" charset="0"/>
              </a:rPr>
            </a:br>
            <a:endParaRPr lang="da-DK" sz="1400" dirty="0">
              <a:latin typeface="Quicksand" panose="020B0604020202020204"/>
              <a:ea typeface="Quicksand" panose="020B0604020202020204"/>
              <a:cs typeface="Quicksand" panose="020B0604020202020204" charset="0"/>
              <a:sym typeface="Quicksand"/>
            </a:endParaRPr>
          </a:p>
          <a:p>
            <a:r>
              <a:rPr lang="da-DK" sz="1400" b="1" kern="0" dirty="0">
                <a:effectLst/>
                <a:latin typeface="Quicksand" panose="020B0604020202020204"/>
                <a:ea typeface="Calibri" panose="020F0502020204030204" pitchFamily="34" charset="0"/>
                <a:cs typeface="Arial" panose="020B0604020202020204" pitchFamily="34" charset="0"/>
              </a:rPr>
              <a:t>Aftal</a:t>
            </a:r>
            <a:r>
              <a:rPr lang="da-DK" sz="1400" kern="0" dirty="0">
                <a:effectLst/>
                <a:latin typeface="Quicksand" panose="020B0604020202020204"/>
                <a:ea typeface="Calibri" panose="020F0502020204030204" pitchFamily="34" charset="0"/>
                <a:cs typeface="Arial" panose="020B0604020202020204" pitchFamily="34" charset="0"/>
              </a:rPr>
              <a:t>, hvilke områder I særligt vil arbejde med frem mod næste teamudviklingssamtale</a:t>
            </a:r>
            <a:r>
              <a:rPr lang="da-DK" sz="1400" b="1" kern="0" dirty="0">
                <a:effectLst/>
                <a:latin typeface="Quicksand" panose="020B0604020202020204"/>
                <a:ea typeface="Calibri" panose="020F0502020204030204" pitchFamily="34" charset="0"/>
                <a:cs typeface="Arial" panose="020B0604020202020204" pitchFamily="34" charset="0"/>
              </a:rPr>
              <a:t>. </a:t>
            </a:r>
            <a:endParaRPr lang="da-DK" sz="1400" b="1" dirty="0">
              <a:latin typeface="Quicksand" panose="020B0604020202020204" charset="0"/>
              <a:sym typeface="Quicksand"/>
            </a:endParaRPr>
          </a:p>
        </p:txBody>
      </p:sp>
      <p:pic>
        <p:nvPicPr>
          <p:cNvPr id="30" name="Graphic 29" descr="Single gear outline">
            <a:extLst>
              <a:ext uri="{FF2B5EF4-FFF2-40B4-BE49-F238E27FC236}">
                <a16:creationId xmlns:a16="http://schemas.microsoft.com/office/drawing/2014/main" id="{EED5AF45-DDB4-3E2E-98F1-E6ACA8E2818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4042" y="1456778"/>
            <a:ext cx="540000" cy="540000"/>
          </a:xfrm>
          <a:prstGeom prst="rect">
            <a:avLst/>
          </a:prstGeom>
        </p:spPr>
      </p:pic>
      <p:sp>
        <p:nvSpPr>
          <p:cNvPr id="8" name="TextBox 7">
            <a:extLst>
              <a:ext uri="{FF2B5EF4-FFF2-40B4-BE49-F238E27FC236}">
                <a16:creationId xmlns:a16="http://schemas.microsoft.com/office/drawing/2014/main" id="{7B8FE8C6-EDF6-8A2A-05C8-FC792A28C20E}"/>
              </a:ext>
            </a:extLst>
          </p:cNvPr>
          <p:cNvSpPr txBox="1"/>
          <p:nvPr/>
        </p:nvSpPr>
        <p:spPr>
          <a:xfrm>
            <a:off x="1380981" y="1542112"/>
            <a:ext cx="5444243" cy="276999"/>
          </a:xfrm>
          <a:prstGeom prst="rect">
            <a:avLst/>
          </a:prstGeom>
          <a:noFill/>
        </p:spPr>
        <p:txBody>
          <a:bodyPr wrap="square" lIns="0" tIns="0" rIns="0" bIns="0">
            <a:spAutoFit/>
          </a:bodyPr>
          <a:lstStyle/>
          <a:p>
            <a:r>
              <a:rPr lang="da-DK" sz="1800" b="1">
                <a:latin typeface="Quicksand" panose="020B0604020202020204" charset="0"/>
                <a:ea typeface="Quicksand"/>
                <a:cs typeface="Quicksand" panose="020B0604020202020204" charset="0"/>
                <a:sym typeface="Quicksand"/>
              </a:rPr>
              <a:t>Greb til at evaluere samarbejdet i teamene:</a:t>
            </a:r>
          </a:p>
        </p:txBody>
      </p:sp>
      <p:pic>
        <p:nvPicPr>
          <p:cNvPr id="3" name="Graphic 2" descr="Handshake outline">
            <a:extLst>
              <a:ext uri="{FF2B5EF4-FFF2-40B4-BE49-F238E27FC236}">
                <a16:creationId xmlns:a16="http://schemas.microsoft.com/office/drawing/2014/main" id="{8CAE3C52-DDEF-AB2A-AD71-26F1EB7B1F5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06318" y="347677"/>
            <a:ext cx="914400" cy="914400"/>
          </a:xfrm>
          <a:prstGeom prst="rect">
            <a:avLst/>
          </a:prstGeom>
        </p:spPr>
      </p:pic>
      <p:sp>
        <p:nvSpPr>
          <p:cNvPr id="10" name="Oval 19">
            <a:extLst>
              <a:ext uri="{FF2B5EF4-FFF2-40B4-BE49-F238E27FC236}">
                <a16:creationId xmlns:a16="http://schemas.microsoft.com/office/drawing/2014/main" id="{496C0E2E-AFC3-049E-D556-54C664111694}"/>
              </a:ext>
            </a:extLst>
          </p:cNvPr>
          <p:cNvSpPr/>
          <p:nvPr/>
        </p:nvSpPr>
        <p:spPr>
          <a:xfrm>
            <a:off x="901242" y="2508247"/>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11" name="Oval 20">
            <a:extLst>
              <a:ext uri="{FF2B5EF4-FFF2-40B4-BE49-F238E27FC236}">
                <a16:creationId xmlns:a16="http://schemas.microsoft.com/office/drawing/2014/main" id="{ADE3E42E-A25F-B3F0-9B05-0B380B28859C}"/>
              </a:ext>
            </a:extLst>
          </p:cNvPr>
          <p:cNvSpPr/>
          <p:nvPr/>
        </p:nvSpPr>
        <p:spPr>
          <a:xfrm>
            <a:off x="901242" y="2960524"/>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12" name="Oval 1">
            <a:extLst>
              <a:ext uri="{FF2B5EF4-FFF2-40B4-BE49-F238E27FC236}">
                <a16:creationId xmlns:a16="http://schemas.microsoft.com/office/drawing/2014/main" id="{A89468B0-F6AE-8980-9C5E-590D253D58BA}"/>
              </a:ext>
            </a:extLst>
          </p:cNvPr>
          <p:cNvSpPr/>
          <p:nvPr/>
        </p:nvSpPr>
        <p:spPr>
          <a:xfrm>
            <a:off x="901242" y="5158929"/>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Tree>
    <p:extLst>
      <p:ext uri="{BB962C8B-B14F-4D97-AF65-F5344CB8AC3E}">
        <p14:creationId xmlns:p14="http://schemas.microsoft.com/office/powerpoint/2010/main" val="28667878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83CA7AC5-366E-03CC-9FE0-224D22DDF317}"/>
              </a:ext>
            </a:extLst>
          </p:cNvPr>
          <p:cNvCxnSpPr>
            <a:cxnSpLocks/>
            <a:endCxn id="23" idx="5"/>
          </p:cNvCxnSpPr>
          <p:nvPr/>
        </p:nvCxnSpPr>
        <p:spPr>
          <a:xfrm>
            <a:off x="6214126" y="3471079"/>
            <a:ext cx="1923100" cy="1916396"/>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5" name="Oval 4">
            <a:extLst>
              <a:ext uri="{FF2B5EF4-FFF2-40B4-BE49-F238E27FC236}">
                <a16:creationId xmlns:a16="http://schemas.microsoft.com/office/drawing/2014/main" id="{9C60A940-4F06-498E-1C12-C3DD72FF094B}"/>
              </a:ext>
            </a:extLst>
          </p:cNvPr>
          <p:cNvSpPr/>
          <p:nvPr/>
        </p:nvSpPr>
        <p:spPr>
          <a:xfrm>
            <a:off x="3798038" y="1048287"/>
            <a:ext cx="4860000" cy="4860000"/>
          </a:xfrm>
          <a:prstGeom prst="ellipse">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cxnSp>
        <p:nvCxnSpPr>
          <p:cNvPr id="6" name="Straight Connector 5">
            <a:extLst>
              <a:ext uri="{FF2B5EF4-FFF2-40B4-BE49-F238E27FC236}">
                <a16:creationId xmlns:a16="http://schemas.microsoft.com/office/drawing/2014/main" id="{9703DBD4-DE97-C197-C7E9-7472DB505D95}"/>
              </a:ext>
            </a:extLst>
          </p:cNvPr>
          <p:cNvCxnSpPr>
            <a:cxnSpLocks/>
            <a:endCxn id="107" idx="0"/>
          </p:cNvCxnSpPr>
          <p:nvPr/>
        </p:nvCxnSpPr>
        <p:spPr>
          <a:xfrm>
            <a:off x="6198931" y="778287"/>
            <a:ext cx="19613" cy="260955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0D245C3C-C133-5648-4221-DCE905DEF356}"/>
              </a:ext>
            </a:extLst>
          </p:cNvPr>
          <p:cNvCxnSpPr>
            <a:cxnSpLocks/>
            <a:stCxn id="23" idx="2"/>
            <a:endCxn id="23" idx="6"/>
          </p:cNvCxnSpPr>
          <p:nvPr/>
        </p:nvCxnSpPr>
        <p:spPr>
          <a:xfrm>
            <a:off x="3528038" y="3478287"/>
            <a:ext cx="5400000" cy="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B8E7A926-20CE-E589-73C1-D2F482F62155}"/>
              </a:ext>
            </a:extLst>
          </p:cNvPr>
          <p:cNvCxnSpPr>
            <a:cxnSpLocks/>
            <a:stCxn id="23" idx="1"/>
            <a:endCxn id="107" idx="1"/>
          </p:cNvCxnSpPr>
          <p:nvPr/>
        </p:nvCxnSpPr>
        <p:spPr>
          <a:xfrm>
            <a:off x="4318850" y="1569099"/>
            <a:ext cx="1836054" cy="184510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948441D8-96BC-1B3B-A833-4C978470478E}"/>
              </a:ext>
            </a:extLst>
          </p:cNvPr>
          <p:cNvCxnSpPr>
            <a:cxnSpLocks/>
            <a:stCxn id="107" idx="3"/>
            <a:endCxn id="23" idx="7"/>
          </p:cNvCxnSpPr>
          <p:nvPr/>
        </p:nvCxnSpPr>
        <p:spPr>
          <a:xfrm flipV="1">
            <a:off x="6154904" y="1569099"/>
            <a:ext cx="1982322" cy="197238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 name="Oval 9">
            <a:extLst>
              <a:ext uri="{FF2B5EF4-FFF2-40B4-BE49-F238E27FC236}">
                <a16:creationId xmlns:a16="http://schemas.microsoft.com/office/drawing/2014/main" id="{2D1FFDDE-8B81-CD59-1B40-2422F1798D23}"/>
              </a:ext>
            </a:extLst>
          </p:cNvPr>
          <p:cNvSpPr/>
          <p:nvPr/>
        </p:nvSpPr>
        <p:spPr>
          <a:xfrm>
            <a:off x="4068038" y="1318287"/>
            <a:ext cx="4320000" cy="4320000"/>
          </a:xfrm>
          <a:prstGeom prst="ellipse">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1" name="Oval 10">
            <a:extLst>
              <a:ext uri="{FF2B5EF4-FFF2-40B4-BE49-F238E27FC236}">
                <a16:creationId xmlns:a16="http://schemas.microsoft.com/office/drawing/2014/main" id="{8192CC9F-8266-8707-C6FB-326A09EDE830}"/>
              </a:ext>
            </a:extLst>
          </p:cNvPr>
          <p:cNvSpPr/>
          <p:nvPr/>
        </p:nvSpPr>
        <p:spPr>
          <a:xfrm>
            <a:off x="4338038" y="1588287"/>
            <a:ext cx="3780000" cy="3780000"/>
          </a:xfrm>
          <a:prstGeom prst="ellipse">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2" name="Oval 11">
            <a:extLst>
              <a:ext uri="{FF2B5EF4-FFF2-40B4-BE49-F238E27FC236}">
                <a16:creationId xmlns:a16="http://schemas.microsoft.com/office/drawing/2014/main" id="{7693AEBC-4DCE-0544-FD4A-DBC5C08BBBD9}"/>
              </a:ext>
            </a:extLst>
          </p:cNvPr>
          <p:cNvSpPr/>
          <p:nvPr/>
        </p:nvSpPr>
        <p:spPr>
          <a:xfrm>
            <a:off x="4608038" y="1858287"/>
            <a:ext cx="3240000" cy="3240000"/>
          </a:xfrm>
          <a:prstGeom prst="ellipse">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3" name="Oval 12">
            <a:extLst>
              <a:ext uri="{FF2B5EF4-FFF2-40B4-BE49-F238E27FC236}">
                <a16:creationId xmlns:a16="http://schemas.microsoft.com/office/drawing/2014/main" id="{3EEF3FCA-6E93-34C8-E36E-B7C9D6981FC6}"/>
              </a:ext>
            </a:extLst>
          </p:cNvPr>
          <p:cNvSpPr/>
          <p:nvPr/>
        </p:nvSpPr>
        <p:spPr>
          <a:xfrm>
            <a:off x="4878038" y="2128287"/>
            <a:ext cx="2700000" cy="2700000"/>
          </a:xfrm>
          <a:prstGeom prst="ellipse">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4" name="Oval 13">
            <a:extLst>
              <a:ext uri="{FF2B5EF4-FFF2-40B4-BE49-F238E27FC236}">
                <a16:creationId xmlns:a16="http://schemas.microsoft.com/office/drawing/2014/main" id="{97FB49C7-B016-B0AC-35AF-052277EA5075}"/>
              </a:ext>
            </a:extLst>
          </p:cNvPr>
          <p:cNvSpPr/>
          <p:nvPr/>
        </p:nvSpPr>
        <p:spPr>
          <a:xfrm>
            <a:off x="5148038" y="2398287"/>
            <a:ext cx="2160000" cy="2160000"/>
          </a:xfrm>
          <a:prstGeom prst="ellipse">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5" name="Oval 14">
            <a:extLst>
              <a:ext uri="{FF2B5EF4-FFF2-40B4-BE49-F238E27FC236}">
                <a16:creationId xmlns:a16="http://schemas.microsoft.com/office/drawing/2014/main" id="{83C8CD3B-8E57-7FF5-A649-AADE1865DD77}"/>
              </a:ext>
            </a:extLst>
          </p:cNvPr>
          <p:cNvSpPr/>
          <p:nvPr/>
        </p:nvSpPr>
        <p:spPr>
          <a:xfrm>
            <a:off x="5418038" y="2668287"/>
            <a:ext cx="1620000" cy="1620000"/>
          </a:xfrm>
          <a:prstGeom prst="ellipse">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6" name="Oval 15">
            <a:extLst>
              <a:ext uri="{FF2B5EF4-FFF2-40B4-BE49-F238E27FC236}">
                <a16:creationId xmlns:a16="http://schemas.microsoft.com/office/drawing/2014/main" id="{AD9E5682-16FA-CA0F-10F3-00B4DA0B8F76}"/>
              </a:ext>
            </a:extLst>
          </p:cNvPr>
          <p:cNvSpPr/>
          <p:nvPr/>
        </p:nvSpPr>
        <p:spPr>
          <a:xfrm>
            <a:off x="5688038" y="2938287"/>
            <a:ext cx="1080000" cy="1080000"/>
          </a:xfrm>
          <a:prstGeom prst="ellipse">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7" name="Oval 16">
            <a:extLst>
              <a:ext uri="{FF2B5EF4-FFF2-40B4-BE49-F238E27FC236}">
                <a16:creationId xmlns:a16="http://schemas.microsoft.com/office/drawing/2014/main" id="{50E31E9D-C3D0-AC95-E649-2D3697D360D4}"/>
              </a:ext>
            </a:extLst>
          </p:cNvPr>
          <p:cNvSpPr/>
          <p:nvPr/>
        </p:nvSpPr>
        <p:spPr>
          <a:xfrm>
            <a:off x="5958038" y="3208287"/>
            <a:ext cx="540000" cy="540000"/>
          </a:xfrm>
          <a:prstGeom prst="ellipse">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8" name="Oval 17">
            <a:extLst>
              <a:ext uri="{FF2B5EF4-FFF2-40B4-BE49-F238E27FC236}">
                <a16:creationId xmlns:a16="http://schemas.microsoft.com/office/drawing/2014/main" id="{E9914525-F042-97B3-0A25-242DD4F7FE26}"/>
              </a:ext>
            </a:extLst>
          </p:cNvPr>
          <p:cNvSpPr/>
          <p:nvPr/>
        </p:nvSpPr>
        <p:spPr>
          <a:xfrm>
            <a:off x="4600602" y="323519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CCE15"/>
                </a:solidFill>
              </a:rPr>
              <a:t>5</a:t>
            </a:r>
          </a:p>
        </p:txBody>
      </p:sp>
      <p:sp>
        <p:nvSpPr>
          <p:cNvPr id="19" name="Oval 18">
            <a:extLst>
              <a:ext uri="{FF2B5EF4-FFF2-40B4-BE49-F238E27FC236}">
                <a16:creationId xmlns:a16="http://schemas.microsoft.com/office/drawing/2014/main" id="{38A0A2D1-BAAE-3BF4-44A4-C32A24C932AB}"/>
              </a:ext>
            </a:extLst>
          </p:cNvPr>
          <p:cNvSpPr/>
          <p:nvPr/>
        </p:nvSpPr>
        <p:spPr>
          <a:xfrm>
            <a:off x="4319990" y="323519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2DC26"/>
                </a:solidFill>
              </a:rPr>
              <a:t>6</a:t>
            </a:r>
          </a:p>
        </p:txBody>
      </p:sp>
      <p:sp>
        <p:nvSpPr>
          <p:cNvPr id="20" name="Oval 19">
            <a:extLst>
              <a:ext uri="{FF2B5EF4-FFF2-40B4-BE49-F238E27FC236}">
                <a16:creationId xmlns:a16="http://schemas.microsoft.com/office/drawing/2014/main" id="{EF65EBDD-531F-E0BD-2523-7B49D30DB742}"/>
              </a:ext>
            </a:extLst>
          </p:cNvPr>
          <p:cNvSpPr/>
          <p:nvPr/>
        </p:nvSpPr>
        <p:spPr>
          <a:xfrm>
            <a:off x="4039378" y="323519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AFCE36"/>
                </a:solidFill>
              </a:rPr>
              <a:t>7</a:t>
            </a:r>
          </a:p>
        </p:txBody>
      </p:sp>
      <p:sp>
        <p:nvSpPr>
          <p:cNvPr id="21" name="Oval 20">
            <a:extLst>
              <a:ext uri="{FF2B5EF4-FFF2-40B4-BE49-F238E27FC236}">
                <a16:creationId xmlns:a16="http://schemas.microsoft.com/office/drawing/2014/main" id="{44A1E4A0-D846-31D0-3365-A371B7A86C0A}"/>
              </a:ext>
            </a:extLst>
          </p:cNvPr>
          <p:cNvSpPr/>
          <p:nvPr/>
        </p:nvSpPr>
        <p:spPr>
          <a:xfrm>
            <a:off x="3758766" y="323519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89C140"/>
                </a:solidFill>
              </a:rPr>
              <a:t>8</a:t>
            </a:r>
          </a:p>
        </p:txBody>
      </p:sp>
      <p:sp>
        <p:nvSpPr>
          <p:cNvPr id="22" name="Oval 21">
            <a:extLst>
              <a:ext uri="{FF2B5EF4-FFF2-40B4-BE49-F238E27FC236}">
                <a16:creationId xmlns:a16="http://schemas.microsoft.com/office/drawing/2014/main" id="{455FDCCC-3596-32FA-F788-231B3587A9C3}"/>
              </a:ext>
            </a:extLst>
          </p:cNvPr>
          <p:cNvSpPr/>
          <p:nvPr/>
        </p:nvSpPr>
        <p:spPr>
          <a:xfrm>
            <a:off x="3478154" y="323519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67B445"/>
                </a:solidFill>
              </a:rPr>
              <a:t>9</a:t>
            </a:r>
          </a:p>
        </p:txBody>
      </p:sp>
      <p:sp>
        <p:nvSpPr>
          <p:cNvPr id="23" name="Oval 22">
            <a:extLst>
              <a:ext uri="{FF2B5EF4-FFF2-40B4-BE49-F238E27FC236}">
                <a16:creationId xmlns:a16="http://schemas.microsoft.com/office/drawing/2014/main" id="{2404E13A-A558-C11F-A0A9-6559046A720C}"/>
              </a:ext>
            </a:extLst>
          </p:cNvPr>
          <p:cNvSpPr/>
          <p:nvPr/>
        </p:nvSpPr>
        <p:spPr>
          <a:xfrm>
            <a:off x="3528038" y="778287"/>
            <a:ext cx="5400000" cy="5400000"/>
          </a:xfrm>
          <a:prstGeom prst="ellipse">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24" name="Oval 23">
            <a:extLst>
              <a:ext uri="{FF2B5EF4-FFF2-40B4-BE49-F238E27FC236}">
                <a16:creationId xmlns:a16="http://schemas.microsoft.com/office/drawing/2014/main" id="{20A4CE4E-91D3-8E0A-28BD-2634829ED44C}"/>
              </a:ext>
            </a:extLst>
          </p:cNvPr>
          <p:cNvSpPr/>
          <p:nvPr/>
        </p:nvSpPr>
        <p:spPr>
          <a:xfrm>
            <a:off x="4881214" y="323519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F1A720"/>
                </a:solidFill>
              </a:rPr>
              <a:t>4</a:t>
            </a:r>
          </a:p>
        </p:txBody>
      </p:sp>
      <p:sp>
        <p:nvSpPr>
          <p:cNvPr id="25" name="Oval 24">
            <a:extLst>
              <a:ext uri="{FF2B5EF4-FFF2-40B4-BE49-F238E27FC236}">
                <a16:creationId xmlns:a16="http://schemas.microsoft.com/office/drawing/2014/main" id="{0B817B74-EDBE-12CC-25F9-1B4BFE157ABF}"/>
              </a:ext>
            </a:extLst>
          </p:cNvPr>
          <p:cNvSpPr/>
          <p:nvPr/>
        </p:nvSpPr>
        <p:spPr>
          <a:xfrm>
            <a:off x="5161826" y="323519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88125"/>
                </a:solidFill>
              </a:rPr>
              <a:t>3</a:t>
            </a:r>
          </a:p>
        </p:txBody>
      </p:sp>
      <p:sp>
        <p:nvSpPr>
          <p:cNvPr id="26" name="Oval 25">
            <a:extLst>
              <a:ext uri="{FF2B5EF4-FFF2-40B4-BE49-F238E27FC236}">
                <a16:creationId xmlns:a16="http://schemas.microsoft.com/office/drawing/2014/main" id="{5262D66D-6744-161F-C33D-50E23D4C34D3}"/>
              </a:ext>
            </a:extLst>
          </p:cNvPr>
          <p:cNvSpPr/>
          <p:nvPr/>
        </p:nvSpPr>
        <p:spPr>
          <a:xfrm>
            <a:off x="5442438" y="323519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A5B27"/>
                </a:solidFill>
              </a:rPr>
              <a:t>2</a:t>
            </a:r>
          </a:p>
        </p:txBody>
      </p:sp>
      <p:sp>
        <p:nvSpPr>
          <p:cNvPr id="27" name="Oval 26">
            <a:extLst>
              <a:ext uri="{FF2B5EF4-FFF2-40B4-BE49-F238E27FC236}">
                <a16:creationId xmlns:a16="http://schemas.microsoft.com/office/drawing/2014/main" id="{045BFE1C-1DB3-3303-3B3A-79EC67F1FB2D}"/>
              </a:ext>
            </a:extLst>
          </p:cNvPr>
          <p:cNvSpPr/>
          <p:nvPr/>
        </p:nvSpPr>
        <p:spPr>
          <a:xfrm>
            <a:off x="5712659" y="323519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E1702"/>
                </a:solidFill>
              </a:rPr>
              <a:t>1</a:t>
            </a:r>
          </a:p>
        </p:txBody>
      </p:sp>
      <p:sp>
        <p:nvSpPr>
          <p:cNvPr id="28" name="Oval 27">
            <a:extLst>
              <a:ext uri="{FF2B5EF4-FFF2-40B4-BE49-F238E27FC236}">
                <a16:creationId xmlns:a16="http://schemas.microsoft.com/office/drawing/2014/main" id="{D9F97F19-830C-9021-351A-4F3978F2963D}"/>
              </a:ext>
            </a:extLst>
          </p:cNvPr>
          <p:cNvSpPr/>
          <p:nvPr/>
        </p:nvSpPr>
        <p:spPr>
          <a:xfrm>
            <a:off x="3197542" y="323519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38A54E"/>
                </a:solidFill>
              </a:rPr>
              <a:t>10</a:t>
            </a:r>
            <a:endParaRPr lang="da-DK" sz="1200" b="1">
              <a:solidFill>
                <a:srgbClr val="38A54E"/>
              </a:solidFill>
            </a:endParaRPr>
          </a:p>
        </p:txBody>
      </p:sp>
      <p:sp>
        <p:nvSpPr>
          <p:cNvPr id="29" name="Oval 28">
            <a:extLst>
              <a:ext uri="{FF2B5EF4-FFF2-40B4-BE49-F238E27FC236}">
                <a16:creationId xmlns:a16="http://schemas.microsoft.com/office/drawing/2014/main" id="{B724FA90-97F8-3C13-1748-C2DC663237E0}"/>
              </a:ext>
            </a:extLst>
          </p:cNvPr>
          <p:cNvSpPr/>
          <p:nvPr/>
        </p:nvSpPr>
        <p:spPr>
          <a:xfrm>
            <a:off x="4078520" y="1302456"/>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38A54E"/>
                </a:solidFill>
              </a:rPr>
              <a:t>10</a:t>
            </a:r>
            <a:endParaRPr lang="da-DK" sz="1200" b="1">
              <a:solidFill>
                <a:srgbClr val="38A54E"/>
              </a:solidFill>
            </a:endParaRPr>
          </a:p>
        </p:txBody>
      </p:sp>
      <p:sp>
        <p:nvSpPr>
          <p:cNvPr id="30" name="Oval 29">
            <a:extLst>
              <a:ext uri="{FF2B5EF4-FFF2-40B4-BE49-F238E27FC236}">
                <a16:creationId xmlns:a16="http://schemas.microsoft.com/office/drawing/2014/main" id="{317F6541-A045-EFBA-A9AA-2485DF9D1215}"/>
              </a:ext>
            </a:extLst>
          </p:cNvPr>
          <p:cNvSpPr/>
          <p:nvPr/>
        </p:nvSpPr>
        <p:spPr>
          <a:xfrm>
            <a:off x="4319990" y="149104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67B445"/>
                </a:solidFill>
              </a:rPr>
              <a:t>9</a:t>
            </a:r>
          </a:p>
        </p:txBody>
      </p:sp>
      <p:sp>
        <p:nvSpPr>
          <p:cNvPr id="31" name="Oval 30">
            <a:extLst>
              <a:ext uri="{FF2B5EF4-FFF2-40B4-BE49-F238E27FC236}">
                <a16:creationId xmlns:a16="http://schemas.microsoft.com/office/drawing/2014/main" id="{B1E1D68B-4948-A584-7097-24ADCFE0FBC1}"/>
              </a:ext>
            </a:extLst>
          </p:cNvPr>
          <p:cNvSpPr/>
          <p:nvPr/>
        </p:nvSpPr>
        <p:spPr>
          <a:xfrm>
            <a:off x="4494240" y="1690657"/>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89C140"/>
                </a:solidFill>
              </a:rPr>
              <a:t>8</a:t>
            </a:r>
          </a:p>
        </p:txBody>
      </p:sp>
      <p:sp>
        <p:nvSpPr>
          <p:cNvPr id="32" name="Oval 31">
            <a:extLst>
              <a:ext uri="{FF2B5EF4-FFF2-40B4-BE49-F238E27FC236}">
                <a16:creationId xmlns:a16="http://schemas.microsoft.com/office/drawing/2014/main" id="{18382FB4-03C5-7900-2336-B63050D8CE16}"/>
              </a:ext>
            </a:extLst>
          </p:cNvPr>
          <p:cNvSpPr/>
          <p:nvPr/>
        </p:nvSpPr>
        <p:spPr>
          <a:xfrm>
            <a:off x="4710288" y="1880197"/>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AFCE36"/>
                </a:solidFill>
              </a:rPr>
              <a:t>7</a:t>
            </a:r>
          </a:p>
        </p:txBody>
      </p:sp>
      <p:sp>
        <p:nvSpPr>
          <p:cNvPr id="33" name="Oval 32">
            <a:extLst>
              <a:ext uri="{FF2B5EF4-FFF2-40B4-BE49-F238E27FC236}">
                <a16:creationId xmlns:a16="http://schemas.microsoft.com/office/drawing/2014/main" id="{359176BE-D40A-38C9-8A91-C79DAED447C0}"/>
              </a:ext>
            </a:extLst>
          </p:cNvPr>
          <p:cNvSpPr/>
          <p:nvPr/>
        </p:nvSpPr>
        <p:spPr>
          <a:xfrm>
            <a:off x="4879156" y="2052664"/>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2DC26"/>
                </a:solidFill>
              </a:rPr>
              <a:t>6</a:t>
            </a:r>
          </a:p>
        </p:txBody>
      </p:sp>
      <p:sp>
        <p:nvSpPr>
          <p:cNvPr id="34" name="Oval 33">
            <a:extLst>
              <a:ext uri="{FF2B5EF4-FFF2-40B4-BE49-F238E27FC236}">
                <a16:creationId xmlns:a16="http://schemas.microsoft.com/office/drawing/2014/main" id="{02A9DD05-C3BE-0015-B878-59FA6D8174E8}"/>
              </a:ext>
            </a:extLst>
          </p:cNvPr>
          <p:cNvSpPr/>
          <p:nvPr/>
        </p:nvSpPr>
        <p:spPr>
          <a:xfrm>
            <a:off x="5078931" y="2270337"/>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CCE15"/>
                </a:solidFill>
              </a:rPr>
              <a:t>5</a:t>
            </a:r>
          </a:p>
        </p:txBody>
      </p:sp>
      <p:sp>
        <p:nvSpPr>
          <p:cNvPr id="35" name="Oval 34">
            <a:extLst>
              <a:ext uri="{FF2B5EF4-FFF2-40B4-BE49-F238E27FC236}">
                <a16:creationId xmlns:a16="http://schemas.microsoft.com/office/drawing/2014/main" id="{D7B5398B-FC37-82FE-ADD5-4C58BC6F7ADE}"/>
              </a:ext>
            </a:extLst>
          </p:cNvPr>
          <p:cNvSpPr/>
          <p:nvPr/>
        </p:nvSpPr>
        <p:spPr>
          <a:xfrm>
            <a:off x="5259988" y="2461010"/>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F1A720"/>
                </a:solidFill>
              </a:rPr>
              <a:t>4</a:t>
            </a:r>
          </a:p>
        </p:txBody>
      </p:sp>
      <p:sp>
        <p:nvSpPr>
          <p:cNvPr id="36" name="Oval 35">
            <a:extLst>
              <a:ext uri="{FF2B5EF4-FFF2-40B4-BE49-F238E27FC236}">
                <a16:creationId xmlns:a16="http://schemas.microsoft.com/office/drawing/2014/main" id="{FDB491D5-7F36-41E6-6A24-1DE95B94A1EB}"/>
              </a:ext>
            </a:extLst>
          </p:cNvPr>
          <p:cNvSpPr/>
          <p:nvPr/>
        </p:nvSpPr>
        <p:spPr>
          <a:xfrm>
            <a:off x="5459478" y="2641657"/>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88125"/>
                </a:solidFill>
              </a:rPr>
              <a:t>3</a:t>
            </a:r>
          </a:p>
        </p:txBody>
      </p:sp>
      <p:sp>
        <p:nvSpPr>
          <p:cNvPr id="37" name="Oval 36">
            <a:extLst>
              <a:ext uri="{FF2B5EF4-FFF2-40B4-BE49-F238E27FC236}">
                <a16:creationId xmlns:a16="http://schemas.microsoft.com/office/drawing/2014/main" id="{DC93403A-4BAA-2FCC-D5D7-9EDDA3D7AF05}"/>
              </a:ext>
            </a:extLst>
          </p:cNvPr>
          <p:cNvSpPr/>
          <p:nvPr/>
        </p:nvSpPr>
        <p:spPr>
          <a:xfrm>
            <a:off x="5658239" y="2840683"/>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A5B27"/>
                </a:solidFill>
              </a:rPr>
              <a:t>2</a:t>
            </a:r>
          </a:p>
        </p:txBody>
      </p:sp>
      <p:sp>
        <p:nvSpPr>
          <p:cNvPr id="38" name="Oval 37">
            <a:extLst>
              <a:ext uri="{FF2B5EF4-FFF2-40B4-BE49-F238E27FC236}">
                <a16:creationId xmlns:a16="http://schemas.microsoft.com/office/drawing/2014/main" id="{1072C3E2-09B1-9B45-3F65-40DEE534A454}"/>
              </a:ext>
            </a:extLst>
          </p:cNvPr>
          <p:cNvSpPr/>
          <p:nvPr/>
        </p:nvSpPr>
        <p:spPr>
          <a:xfrm>
            <a:off x="5839040" y="302798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E1702"/>
                </a:solidFill>
              </a:rPr>
              <a:t>1</a:t>
            </a:r>
          </a:p>
        </p:txBody>
      </p:sp>
      <p:sp>
        <p:nvSpPr>
          <p:cNvPr id="39" name="Oval 38">
            <a:extLst>
              <a:ext uri="{FF2B5EF4-FFF2-40B4-BE49-F238E27FC236}">
                <a16:creationId xmlns:a16="http://schemas.microsoft.com/office/drawing/2014/main" id="{E87F7660-735D-E872-C800-B977FAF19EDE}"/>
              </a:ext>
            </a:extLst>
          </p:cNvPr>
          <p:cNvSpPr/>
          <p:nvPr/>
        </p:nvSpPr>
        <p:spPr>
          <a:xfrm>
            <a:off x="6076045" y="54046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38A54E"/>
                </a:solidFill>
              </a:rPr>
              <a:t>10</a:t>
            </a:r>
            <a:endParaRPr lang="da-DK" sz="1200" b="1">
              <a:solidFill>
                <a:srgbClr val="38A54E"/>
              </a:solidFill>
            </a:endParaRPr>
          </a:p>
        </p:txBody>
      </p:sp>
      <p:sp>
        <p:nvSpPr>
          <p:cNvPr id="40" name="Oval 39">
            <a:extLst>
              <a:ext uri="{FF2B5EF4-FFF2-40B4-BE49-F238E27FC236}">
                <a16:creationId xmlns:a16="http://schemas.microsoft.com/office/drawing/2014/main" id="{9DF99EF4-D657-2F4B-D4D1-50AEF0536423}"/>
              </a:ext>
            </a:extLst>
          </p:cNvPr>
          <p:cNvSpPr/>
          <p:nvPr/>
        </p:nvSpPr>
        <p:spPr>
          <a:xfrm>
            <a:off x="6076045" y="811810"/>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67B445"/>
                </a:solidFill>
              </a:rPr>
              <a:t>9</a:t>
            </a:r>
          </a:p>
        </p:txBody>
      </p:sp>
      <p:sp>
        <p:nvSpPr>
          <p:cNvPr id="41" name="Oval 40">
            <a:extLst>
              <a:ext uri="{FF2B5EF4-FFF2-40B4-BE49-F238E27FC236}">
                <a16:creationId xmlns:a16="http://schemas.microsoft.com/office/drawing/2014/main" id="{4EAC79A7-6136-1E2D-677C-E0210B4C3ED6}"/>
              </a:ext>
            </a:extLst>
          </p:cNvPr>
          <p:cNvSpPr/>
          <p:nvPr/>
        </p:nvSpPr>
        <p:spPr>
          <a:xfrm>
            <a:off x="6076045" y="108315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89C140"/>
                </a:solidFill>
              </a:rPr>
              <a:t>8</a:t>
            </a:r>
          </a:p>
        </p:txBody>
      </p:sp>
      <p:sp>
        <p:nvSpPr>
          <p:cNvPr id="42" name="Oval 41">
            <a:extLst>
              <a:ext uri="{FF2B5EF4-FFF2-40B4-BE49-F238E27FC236}">
                <a16:creationId xmlns:a16="http://schemas.microsoft.com/office/drawing/2014/main" id="{64CA91C1-F707-F5B7-9697-960264A197DB}"/>
              </a:ext>
            </a:extLst>
          </p:cNvPr>
          <p:cNvSpPr/>
          <p:nvPr/>
        </p:nvSpPr>
        <p:spPr>
          <a:xfrm>
            <a:off x="6076045" y="1354494"/>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AFCE36"/>
                </a:solidFill>
              </a:rPr>
              <a:t>7</a:t>
            </a:r>
          </a:p>
        </p:txBody>
      </p:sp>
      <p:sp>
        <p:nvSpPr>
          <p:cNvPr id="43" name="Oval 42">
            <a:extLst>
              <a:ext uri="{FF2B5EF4-FFF2-40B4-BE49-F238E27FC236}">
                <a16:creationId xmlns:a16="http://schemas.microsoft.com/office/drawing/2014/main" id="{35729CDE-A53D-F5FE-954C-7003547C219F}"/>
              </a:ext>
            </a:extLst>
          </p:cNvPr>
          <p:cNvSpPr/>
          <p:nvPr/>
        </p:nvSpPr>
        <p:spPr>
          <a:xfrm>
            <a:off x="6076045" y="1625836"/>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2DC26"/>
                </a:solidFill>
              </a:rPr>
              <a:t>6</a:t>
            </a:r>
          </a:p>
        </p:txBody>
      </p:sp>
      <p:sp>
        <p:nvSpPr>
          <p:cNvPr id="44" name="Oval 43">
            <a:extLst>
              <a:ext uri="{FF2B5EF4-FFF2-40B4-BE49-F238E27FC236}">
                <a16:creationId xmlns:a16="http://schemas.microsoft.com/office/drawing/2014/main" id="{F7ACAF07-9D24-17E5-1D25-C6FA1C238291}"/>
              </a:ext>
            </a:extLst>
          </p:cNvPr>
          <p:cNvSpPr/>
          <p:nvPr/>
        </p:nvSpPr>
        <p:spPr>
          <a:xfrm>
            <a:off x="6076045" y="189717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CCE15"/>
                </a:solidFill>
              </a:rPr>
              <a:t>5</a:t>
            </a:r>
          </a:p>
        </p:txBody>
      </p:sp>
      <p:sp>
        <p:nvSpPr>
          <p:cNvPr id="45" name="Oval 44">
            <a:extLst>
              <a:ext uri="{FF2B5EF4-FFF2-40B4-BE49-F238E27FC236}">
                <a16:creationId xmlns:a16="http://schemas.microsoft.com/office/drawing/2014/main" id="{11BC9C7D-57F7-9992-6102-4D8B09A11CB5}"/>
              </a:ext>
            </a:extLst>
          </p:cNvPr>
          <p:cNvSpPr/>
          <p:nvPr/>
        </p:nvSpPr>
        <p:spPr>
          <a:xfrm>
            <a:off x="6076045" y="2168520"/>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F1A720"/>
                </a:solidFill>
              </a:rPr>
              <a:t>4</a:t>
            </a:r>
          </a:p>
        </p:txBody>
      </p:sp>
      <p:sp>
        <p:nvSpPr>
          <p:cNvPr id="46" name="Oval 45">
            <a:extLst>
              <a:ext uri="{FF2B5EF4-FFF2-40B4-BE49-F238E27FC236}">
                <a16:creationId xmlns:a16="http://schemas.microsoft.com/office/drawing/2014/main" id="{0E2323A5-8ADC-339E-66C0-3E6400C4129B}"/>
              </a:ext>
            </a:extLst>
          </p:cNvPr>
          <p:cNvSpPr/>
          <p:nvPr/>
        </p:nvSpPr>
        <p:spPr>
          <a:xfrm>
            <a:off x="6076045" y="243986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88125"/>
                </a:solidFill>
              </a:rPr>
              <a:t>3</a:t>
            </a:r>
          </a:p>
        </p:txBody>
      </p:sp>
      <p:sp>
        <p:nvSpPr>
          <p:cNvPr id="47" name="Oval 46">
            <a:extLst>
              <a:ext uri="{FF2B5EF4-FFF2-40B4-BE49-F238E27FC236}">
                <a16:creationId xmlns:a16="http://schemas.microsoft.com/office/drawing/2014/main" id="{AAD89F88-E392-D522-844F-4704711264DF}"/>
              </a:ext>
            </a:extLst>
          </p:cNvPr>
          <p:cNvSpPr/>
          <p:nvPr/>
        </p:nvSpPr>
        <p:spPr>
          <a:xfrm>
            <a:off x="6076045" y="2711204"/>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A5B27"/>
                </a:solidFill>
              </a:rPr>
              <a:t>2</a:t>
            </a:r>
          </a:p>
        </p:txBody>
      </p:sp>
      <p:sp>
        <p:nvSpPr>
          <p:cNvPr id="48" name="Oval 47">
            <a:extLst>
              <a:ext uri="{FF2B5EF4-FFF2-40B4-BE49-F238E27FC236}">
                <a16:creationId xmlns:a16="http://schemas.microsoft.com/office/drawing/2014/main" id="{3C4365BC-4A9A-B092-B452-0817EA0580E5}"/>
              </a:ext>
            </a:extLst>
          </p:cNvPr>
          <p:cNvSpPr/>
          <p:nvPr/>
        </p:nvSpPr>
        <p:spPr>
          <a:xfrm>
            <a:off x="6076045" y="2982545"/>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E1702"/>
                </a:solidFill>
              </a:rPr>
              <a:t>1</a:t>
            </a:r>
          </a:p>
        </p:txBody>
      </p:sp>
      <p:sp>
        <p:nvSpPr>
          <p:cNvPr id="49" name="Oval 48">
            <a:extLst>
              <a:ext uri="{FF2B5EF4-FFF2-40B4-BE49-F238E27FC236}">
                <a16:creationId xmlns:a16="http://schemas.microsoft.com/office/drawing/2014/main" id="{6FB5155C-CB72-7A1F-327F-C793951736D9}"/>
              </a:ext>
            </a:extLst>
          </p:cNvPr>
          <p:cNvSpPr/>
          <p:nvPr/>
        </p:nvSpPr>
        <p:spPr>
          <a:xfrm>
            <a:off x="8845095" y="337758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38A54E"/>
                </a:solidFill>
              </a:rPr>
              <a:t>10</a:t>
            </a:r>
            <a:endParaRPr lang="da-DK" sz="1200" b="1">
              <a:solidFill>
                <a:srgbClr val="38A54E"/>
              </a:solidFill>
            </a:endParaRPr>
          </a:p>
        </p:txBody>
      </p:sp>
      <p:sp>
        <p:nvSpPr>
          <p:cNvPr id="50" name="Oval 49">
            <a:extLst>
              <a:ext uri="{FF2B5EF4-FFF2-40B4-BE49-F238E27FC236}">
                <a16:creationId xmlns:a16="http://schemas.microsoft.com/office/drawing/2014/main" id="{B3422326-D8FA-1F53-55BA-9F83545DAF14}"/>
              </a:ext>
            </a:extLst>
          </p:cNvPr>
          <p:cNvSpPr/>
          <p:nvPr/>
        </p:nvSpPr>
        <p:spPr>
          <a:xfrm>
            <a:off x="8568340" y="337758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67B445"/>
                </a:solidFill>
              </a:rPr>
              <a:t>9</a:t>
            </a:r>
          </a:p>
        </p:txBody>
      </p:sp>
      <p:sp>
        <p:nvSpPr>
          <p:cNvPr id="51" name="Oval 50">
            <a:extLst>
              <a:ext uri="{FF2B5EF4-FFF2-40B4-BE49-F238E27FC236}">
                <a16:creationId xmlns:a16="http://schemas.microsoft.com/office/drawing/2014/main" id="{2FA4F64F-F8E6-BD7F-86AF-5BAD6FE8E831}"/>
              </a:ext>
            </a:extLst>
          </p:cNvPr>
          <p:cNvSpPr/>
          <p:nvPr/>
        </p:nvSpPr>
        <p:spPr>
          <a:xfrm>
            <a:off x="8291587" y="337758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89C140"/>
                </a:solidFill>
              </a:rPr>
              <a:t>8</a:t>
            </a:r>
          </a:p>
        </p:txBody>
      </p:sp>
      <p:sp>
        <p:nvSpPr>
          <p:cNvPr id="52" name="Oval 51">
            <a:extLst>
              <a:ext uri="{FF2B5EF4-FFF2-40B4-BE49-F238E27FC236}">
                <a16:creationId xmlns:a16="http://schemas.microsoft.com/office/drawing/2014/main" id="{DF8C6EDB-B6F3-F94D-4B67-F07572FE56B9}"/>
              </a:ext>
            </a:extLst>
          </p:cNvPr>
          <p:cNvSpPr/>
          <p:nvPr/>
        </p:nvSpPr>
        <p:spPr>
          <a:xfrm>
            <a:off x="8014834" y="337758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AFCE36"/>
                </a:solidFill>
              </a:rPr>
              <a:t>7</a:t>
            </a:r>
          </a:p>
        </p:txBody>
      </p:sp>
      <p:sp>
        <p:nvSpPr>
          <p:cNvPr id="53" name="Oval 52">
            <a:extLst>
              <a:ext uri="{FF2B5EF4-FFF2-40B4-BE49-F238E27FC236}">
                <a16:creationId xmlns:a16="http://schemas.microsoft.com/office/drawing/2014/main" id="{34F6247B-917B-8000-B790-701D1BC02A2C}"/>
              </a:ext>
            </a:extLst>
          </p:cNvPr>
          <p:cNvSpPr/>
          <p:nvPr/>
        </p:nvSpPr>
        <p:spPr>
          <a:xfrm>
            <a:off x="7738081" y="337758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2DC26"/>
                </a:solidFill>
              </a:rPr>
              <a:t>6</a:t>
            </a:r>
          </a:p>
        </p:txBody>
      </p:sp>
      <p:sp>
        <p:nvSpPr>
          <p:cNvPr id="54" name="Oval 53">
            <a:extLst>
              <a:ext uri="{FF2B5EF4-FFF2-40B4-BE49-F238E27FC236}">
                <a16:creationId xmlns:a16="http://schemas.microsoft.com/office/drawing/2014/main" id="{90F35358-99C7-8326-D57F-543EB3CC03BB}"/>
              </a:ext>
            </a:extLst>
          </p:cNvPr>
          <p:cNvSpPr/>
          <p:nvPr/>
        </p:nvSpPr>
        <p:spPr>
          <a:xfrm>
            <a:off x="7461328" y="337758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CCE15"/>
                </a:solidFill>
              </a:rPr>
              <a:t>5</a:t>
            </a:r>
          </a:p>
        </p:txBody>
      </p:sp>
      <p:sp>
        <p:nvSpPr>
          <p:cNvPr id="55" name="Oval 54">
            <a:extLst>
              <a:ext uri="{FF2B5EF4-FFF2-40B4-BE49-F238E27FC236}">
                <a16:creationId xmlns:a16="http://schemas.microsoft.com/office/drawing/2014/main" id="{54ABDBE9-30A4-C39B-B8F5-E161000FC49F}"/>
              </a:ext>
            </a:extLst>
          </p:cNvPr>
          <p:cNvSpPr/>
          <p:nvPr/>
        </p:nvSpPr>
        <p:spPr>
          <a:xfrm>
            <a:off x="7184575" y="337758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F1A720"/>
                </a:solidFill>
              </a:rPr>
              <a:t>4</a:t>
            </a:r>
          </a:p>
        </p:txBody>
      </p:sp>
      <p:sp>
        <p:nvSpPr>
          <p:cNvPr id="56" name="Oval 55">
            <a:extLst>
              <a:ext uri="{FF2B5EF4-FFF2-40B4-BE49-F238E27FC236}">
                <a16:creationId xmlns:a16="http://schemas.microsoft.com/office/drawing/2014/main" id="{9B22D992-B86B-9C42-A3B2-A69A4BB30863}"/>
              </a:ext>
            </a:extLst>
          </p:cNvPr>
          <p:cNvSpPr/>
          <p:nvPr/>
        </p:nvSpPr>
        <p:spPr>
          <a:xfrm>
            <a:off x="6907822" y="337758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88125"/>
                </a:solidFill>
              </a:rPr>
              <a:t>3</a:t>
            </a:r>
          </a:p>
        </p:txBody>
      </p:sp>
      <p:sp>
        <p:nvSpPr>
          <p:cNvPr id="57" name="Oval 56">
            <a:extLst>
              <a:ext uri="{FF2B5EF4-FFF2-40B4-BE49-F238E27FC236}">
                <a16:creationId xmlns:a16="http://schemas.microsoft.com/office/drawing/2014/main" id="{2373C389-DC72-22A6-BEE1-AFF1005471CA}"/>
              </a:ext>
            </a:extLst>
          </p:cNvPr>
          <p:cNvSpPr/>
          <p:nvPr/>
        </p:nvSpPr>
        <p:spPr>
          <a:xfrm>
            <a:off x="6631069" y="337758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A5B27"/>
                </a:solidFill>
              </a:rPr>
              <a:t>2</a:t>
            </a:r>
          </a:p>
        </p:txBody>
      </p:sp>
      <p:sp>
        <p:nvSpPr>
          <p:cNvPr id="58" name="Oval 57">
            <a:extLst>
              <a:ext uri="{FF2B5EF4-FFF2-40B4-BE49-F238E27FC236}">
                <a16:creationId xmlns:a16="http://schemas.microsoft.com/office/drawing/2014/main" id="{03AC8404-6A8F-7E58-00CD-235C085DD7C0}"/>
              </a:ext>
            </a:extLst>
          </p:cNvPr>
          <p:cNvSpPr/>
          <p:nvPr/>
        </p:nvSpPr>
        <p:spPr>
          <a:xfrm>
            <a:off x="6354316" y="337758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E1702"/>
                </a:solidFill>
              </a:rPr>
              <a:t>1</a:t>
            </a:r>
          </a:p>
        </p:txBody>
      </p:sp>
      <p:sp>
        <p:nvSpPr>
          <p:cNvPr id="59" name="Oval 58">
            <a:extLst>
              <a:ext uri="{FF2B5EF4-FFF2-40B4-BE49-F238E27FC236}">
                <a16:creationId xmlns:a16="http://schemas.microsoft.com/office/drawing/2014/main" id="{2F0C9D58-67E7-1DC5-ED2F-34E1B8922A1D}"/>
              </a:ext>
            </a:extLst>
          </p:cNvPr>
          <p:cNvSpPr/>
          <p:nvPr/>
        </p:nvSpPr>
        <p:spPr>
          <a:xfrm>
            <a:off x="6307474" y="311351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E1702"/>
                </a:solidFill>
              </a:rPr>
              <a:t>1</a:t>
            </a:r>
          </a:p>
        </p:txBody>
      </p:sp>
      <p:sp>
        <p:nvSpPr>
          <p:cNvPr id="60" name="Oval 59">
            <a:extLst>
              <a:ext uri="{FF2B5EF4-FFF2-40B4-BE49-F238E27FC236}">
                <a16:creationId xmlns:a16="http://schemas.microsoft.com/office/drawing/2014/main" id="{95ED06C2-584A-83F6-02A9-725D229F9B30}"/>
              </a:ext>
            </a:extLst>
          </p:cNvPr>
          <p:cNvSpPr/>
          <p:nvPr/>
        </p:nvSpPr>
        <p:spPr>
          <a:xfrm>
            <a:off x="6515362" y="294177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A5B27"/>
                </a:solidFill>
              </a:rPr>
              <a:t>2</a:t>
            </a:r>
          </a:p>
        </p:txBody>
      </p:sp>
      <p:sp>
        <p:nvSpPr>
          <p:cNvPr id="61" name="Oval 60">
            <a:extLst>
              <a:ext uri="{FF2B5EF4-FFF2-40B4-BE49-F238E27FC236}">
                <a16:creationId xmlns:a16="http://schemas.microsoft.com/office/drawing/2014/main" id="{069BA4EA-68EE-0EE9-8331-6D1D1607372F}"/>
              </a:ext>
            </a:extLst>
          </p:cNvPr>
          <p:cNvSpPr/>
          <p:nvPr/>
        </p:nvSpPr>
        <p:spPr>
          <a:xfrm>
            <a:off x="6707771" y="2742813"/>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88125"/>
                </a:solidFill>
              </a:rPr>
              <a:t>3</a:t>
            </a:r>
          </a:p>
        </p:txBody>
      </p:sp>
      <p:sp>
        <p:nvSpPr>
          <p:cNvPr id="62" name="Oval 61">
            <a:extLst>
              <a:ext uri="{FF2B5EF4-FFF2-40B4-BE49-F238E27FC236}">
                <a16:creationId xmlns:a16="http://schemas.microsoft.com/office/drawing/2014/main" id="{05131B9D-2CD3-81BC-B7B9-5DF48A85BBFD}"/>
              </a:ext>
            </a:extLst>
          </p:cNvPr>
          <p:cNvSpPr/>
          <p:nvPr/>
        </p:nvSpPr>
        <p:spPr>
          <a:xfrm>
            <a:off x="6875159" y="2553797"/>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F1A720"/>
                </a:solidFill>
              </a:rPr>
              <a:t>4</a:t>
            </a:r>
          </a:p>
        </p:txBody>
      </p:sp>
      <p:sp>
        <p:nvSpPr>
          <p:cNvPr id="63" name="Oval 62">
            <a:extLst>
              <a:ext uri="{FF2B5EF4-FFF2-40B4-BE49-F238E27FC236}">
                <a16:creationId xmlns:a16="http://schemas.microsoft.com/office/drawing/2014/main" id="{E1638E9E-EFE4-209B-0663-3A0F38737BC7}"/>
              </a:ext>
            </a:extLst>
          </p:cNvPr>
          <p:cNvSpPr/>
          <p:nvPr/>
        </p:nvSpPr>
        <p:spPr>
          <a:xfrm>
            <a:off x="7097739" y="235276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CCE15"/>
                </a:solidFill>
              </a:rPr>
              <a:t>5</a:t>
            </a:r>
          </a:p>
        </p:txBody>
      </p:sp>
      <p:sp>
        <p:nvSpPr>
          <p:cNvPr id="64" name="Oval 63">
            <a:extLst>
              <a:ext uri="{FF2B5EF4-FFF2-40B4-BE49-F238E27FC236}">
                <a16:creationId xmlns:a16="http://schemas.microsoft.com/office/drawing/2014/main" id="{289DAC35-B4D1-8414-26FC-86CC3796DA11}"/>
              </a:ext>
            </a:extLst>
          </p:cNvPr>
          <p:cNvSpPr/>
          <p:nvPr/>
        </p:nvSpPr>
        <p:spPr>
          <a:xfrm>
            <a:off x="7283762" y="216218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2DC26"/>
                </a:solidFill>
              </a:rPr>
              <a:t>6</a:t>
            </a:r>
          </a:p>
        </p:txBody>
      </p:sp>
      <p:sp>
        <p:nvSpPr>
          <p:cNvPr id="65" name="Oval 64">
            <a:extLst>
              <a:ext uri="{FF2B5EF4-FFF2-40B4-BE49-F238E27FC236}">
                <a16:creationId xmlns:a16="http://schemas.microsoft.com/office/drawing/2014/main" id="{FA453D1A-83CC-4656-F569-01344C080119}"/>
              </a:ext>
            </a:extLst>
          </p:cNvPr>
          <p:cNvSpPr/>
          <p:nvPr/>
        </p:nvSpPr>
        <p:spPr>
          <a:xfrm>
            <a:off x="7488258" y="1981664"/>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AFCE36"/>
                </a:solidFill>
              </a:rPr>
              <a:t>7</a:t>
            </a:r>
          </a:p>
        </p:txBody>
      </p:sp>
      <p:sp>
        <p:nvSpPr>
          <p:cNvPr id="66" name="Oval 65">
            <a:extLst>
              <a:ext uri="{FF2B5EF4-FFF2-40B4-BE49-F238E27FC236}">
                <a16:creationId xmlns:a16="http://schemas.microsoft.com/office/drawing/2014/main" id="{5F4EED9B-8086-BAA0-6920-C1C6ED3F158C}"/>
              </a:ext>
            </a:extLst>
          </p:cNvPr>
          <p:cNvSpPr/>
          <p:nvPr/>
        </p:nvSpPr>
        <p:spPr>
          <a:xfrm>
            <a:off x="7686258" y="1781664"/>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89C140"/>
                </a:solidFill>
              </a:rPr>
              <a:t>8</a:t>
            </a:r>
          </a:p>
        </p:txBody>
      </p:sp>
      <p:sp>
        <p:nvSpPr>
          <p:cNvPr id="67" name="Oval 66">
            <a:extLst>
              <a:ext uri="{FF2B5EF4-FFF2-40B4-BE49-F238E27FC236}">
                <a16:creationId xmlns:a16="http://schemas.microsoft.com/office/drawing/2014/main" id="{48E01F9F-EA06-681A-DA21-44D915DCD17C}"/>
              </a:ext>
            </a:extLst>
          </p:cNvPr>
          <p:cNvSpPr/>
          <p:nvPr/>
        </p:nvSpPr>
        <p:spPr>
          <a:xfrm>
            <a:off x="7871219" y="1602643"/>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67B445"/>
                </a:solidFill>
              </a:rPr>
              <a:t>9</a:t>
            </a:r>
          </a:p>
        </p:txBody>
      </p:sp>
      <p:sp>
        <p:nvSpPr>
          <p:cNvPr id="68" name="Oval 67">
            <a:extLst>
              <a:ext uri="{FF2B5EF4-FFF2-40B4-BE49-F238E27FC236}">
                <a16:creationId xmlns:a16="http://schemas.microsoft.com/office/drawing/2014/main" id="{B00289F4-961D-740E-E80A-6873AB831FA9}"/>
              </a:ext>
            </a:extLst>
          </p:cNvPr>
          <p:cNvSpPr/>
          <p:nvPr/>
        </p:nvSpPr>
        <p:spPr>
          <a:xfrm>
            <a:off x="8074226" y="1403194"/>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38A54E"/>
                </a:solidFill>
              </a:rPr>
              <a:t>10</a:t>
            </a:r>
            <a:endParaRPr lang="da-DK" sz="1200" b="1">
              <a:solidFill>
                <a:srgbClr val="38A54E"/>
              </a:solidFill>
            </a:endParaRPr>
          </a:p>
        </p:txBody>
      </p:sp>
      <p:sp>
        <p:nvSpPr>
          <p:cNvPr id="69" name="Oval 68">
            <a:extLst>
              <a:ext uri="{FF2B5EF4-FFF2-40B4-BE49-F238E27FC236}">
                <a16:creationId xmlns:a16="http://schemas.microsoft.com/office/drawing/2014/main" id="{40E943EB-9A97-224F-173D-8C9F26B81DBC}"/>
              </a:ext>
            </a:extLst>
          </p:cNvPr>
          <p:cNvSpPr/>
          <p:nvPr/>
        </p:nvSpPr>
        <p:spPr>
          <a:xfrm>
            <a:off x="7989110" y="5370386"/>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38A54E"/>
                </a:solidFill>
              </a:rPr>
              <a:t>10</a:t>
            </a:r>
            <a:endParaRPr lang="da-DK" sz="1200" b="1">
              <a:solidFill>
                <a:srgbClr val="38A54E"/>
              </a:solidFill>
            </a:endParaRPr>
          </a:p>
        </p:txBody>
      </p:sp>
      <p:sp>
        <p:nvSpPr>
          <p:cNvPr id="70" name="Oval 69">
            <a:extLst>
              <a:ext uri="{FF2B5EF4-FFF2-40B4-BE49-F238E27FC236}">
                <a16:creationId xmlns:a16="http://schemas.microsoft.com/office/drawing/2014/main" id="{37477BED-D71C-9F35-2927-5EB9EDB022D0}"/>
              </a:ext>
            </a:extLst>
          </p:cNvPr>
          <p:cNvSpPr/>
          <p:nvPr/>
        </p:nvSpPr>
        <p:spPr>
          <a:xfrm>
            <a:off x="7766752" y="518016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67B445"/>
                </a:solidFill>
              </a:rPr>
              <a:t>9</a:t>
            </a:r>
          </a:p>
        </p:txBody>
      </p:sp>
      <p:sp>
        <p:nvSpPr>
          <p:cNvPr id="71" name="Oval 70">
            <a:extLst>
              <a:ext uri="{FF2B5EF4-FFF2-40B4-BE49-F238E27FC236}">
                <a16:creationId xmlns:a16="http://schemas.microsoft.com/office/drawing/2014/main" id="{BE2C6877-0790-BA41-8630-CF425CAB2A9D}"/>
              </a:ext>
            </a:extLst>
          </p:cNvPr>
          <p:cNvSpPr/>
          <p:nvPr/>
        </p:nvSpPr>
        <p:spPr>
          <a:xfrm>
            <a:off x="7576720" y="4996427"/>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89C140"/>
                </a:solidFill>
              </a:rPr>
              <a:t>8</a:t>
            </a:r>
          </a:p>
        </p:txBody>
      </p:sp>
      <p:sp>
        <p:nvSpPr>
          <p:cNvPr id="72" name="Oval 71">
            <a:extLst>
              <a:ext uri="{FF2B5EF4-FFF2-40B4-BE49-F238E27FC236}">
                <a16:creationId xmlns:a16="http://schemas.microsoft.com/office/drawing/2014/main" id="{F3E72D00-1BC7-298A-53BE-7FDC0D5BB983}"/>
              </a:ext>
            </a:extLst>
          </p:cNvPr>
          <p:cNvSpPr/>
          <p:nvPr/>
        </p:nvSpPr>
        <p:spPr>
          <a:xfrm>
            <a:off x="7397262" y="4816319"/>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AFCE36"/>
                </a:solidFill>
              </a:rPr>
              <a:t>7</a:t>
            </a:r>
          </a:p>
        </p:txBody>
      </p:sp>
      <p:sp>
        <p:nvSpPr>
          <p:cNvPr id="73" name="Oval 72">
            <a:extLst>
              <a:ext uri="{FF2B5EF4-FFF2-40B4-BE49-F238E27FC236}">
                <a16:creationId xmlns:a16="http://schemas.microsoft.com/office/drawing/2014/main" id="{680F2620-C65D-B02F-E7A7-4CED6DED8FBF}"/>
              </a:ext>
            </a:extLst>
          </p:cNvPr>
          <p:cNvSpPr/>
          <p:nvPr/>
        </p:nvSpPr>
        <p:spPr>
          <a:xfrm>
            <a:off x="7176956" y="4619929"/>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2DC26"/>
                </a:solidFill>
              </a:rPr>
              <a:t>6</a:t>
            </a:r>
          </a:p>
        </p:txBody>
      </p:sp>
      <p:sp>
        <p:nvSpPr>
          <p:cNvPr id="74" name="Oval 73">
            <a:extLst>
              <a:ext uri="{FF2B5EF4-FFF2-40B4-BE49-F238E27FC236}">
                <a16:creationId xmlns:a16="http://schemas.microsoft.com/office/drawing/2014/main" id="{690A0F54-5615-0771-A514-01475FB5922A}"/>
              </a:ext>
            </a:extLst>
          </p:cNvPr>
          <p:cNvSpPr/>
          <p:nvPr/>
        </p:nvSpPr>
        <p:spPr>
          <a:xfrm>
            <a:off x="6964720" y="4451609"/>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CCE15"/>
                </a:solidFill>
              </a:rPr>
              <a:t>5</a:t>
            </a:r>
          </a:p>
        </p:txBody>
      </p:sp>
      <p:sp>
        <p:nvSpPr>
          <p:cNvPr id="75" name="Oval 74">
            <a:extLst>
              <a:ext uri="{FF2B5EF4-FFF2-40B4-BE49-F238E27FC236}">
                <a16:creationId xmlns:a16="http://schemas.microsoft.com/office/drawing/2014/main" id="{56FB953D-18D9-12F7-E44D-BE4D3FE8CC9F}"/>
              </a:ext>
            </a:extLst>
          </p:cNvPr>
          <p:cNvSpPr/>
          <p:nvPr/>
        </p:nvSpPr>
        <p:spPr>
          <a:xfrm>
            <a:off x="6805005" y="427042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F1A720"/>
                </a:solidFill>
              </a:rPr>
              <a:t>4</a:t>
            </a:r>
          </a:p>
        </p:txBody>
      </p:sp>
      <p:sp>
        <p:nvSpPr>
          <p:cNvPr id="76" name="Oval 75">
            <a:extLst>
              <a:ext uri="{FF2B5EF4-FFF2-40B4-BE49-F238E27FC236}">
                <a16:creationId xmlns:a16="http://schemas.microsoft.com/office/drawing/2014/main" id="{D20F7004-12FB-2DA5-963B-36D0BE61E1F8}"/>
              </a:ext>
            </a:extLst>
          </p:cNvPr>
          <p:cNvSpPr/>
          <p:nvPr/>
        </p:nvSpPr>
        <p:spPr>
          <a:xfrm>
            <a:off x="6600567" y="4068735"/>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88125"/>
                </a:solidFill>
              </a:rPr>
              <a:t>3</a:t>
            </a:r>
          </a:p>
        </p:txBody>
      </p:sp>
      <p:sp>
        <p:nvSpPr>
          <p:cNvPr id="77" name="Oval 76">
            <a:extLst>
              <a:ext uri="{FF2B5EF4-FFF2-40B4-BE49-F238E27FC236}">
                <a16:creationId xmlns:a16="http://schemas.microsoft.com/office/drawing/2014/main" id="{93000F67-00B4-3331-F232-67B38BAF4713}"/>
              </a:ext>
            </a:extLst>
          </p:cNvPr>
          <p:cNvSpPr/>
          <p:nvPr/>
        </p:nvSpPr>
        <p:spPr>
          <a:xfrm>
            <a:off x="6434500" y="3865250"/>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A5B27"/>
                </a:solidFill>
              </a:rPr>
              <a:t>2</a:t>
            </a:r>
          </a:p>
        </p:txBody>
      </p:sp>
      <p:sp>
        <p:nvSpPr>
          <p:cNvPr id="78" name="Oval 77">
            <a:extLst>
              <a:ext uri="{FF2B5EF4-FFF2-40B4-BE49-F238E27FC236}">
                <a16:creationId xmlns:a16="http://schemas.microsoft.com/office/drawing/2014/main" id="{3B09C649-4617-7461-D1C4-C685E18B6027}"/>
              </a:ext>
            </a:extLst>
          </p:cNvPr>
          <p:cNvSpPr/>
          <p:nvPr/>
        </p:nvSpPr>
        <p:spPr>
          <a:xfrm>
            <a:off x="6251863" y="362777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E1702"/>
                </a:solidFill>
              </a:rPr>
              <a:t>1</a:t>
            </a:r>
          </a:p>
        </p:txBody>
      </p:sp>
      <p:sp>
        <p:nvSpPr>
          <p:cNvPr id="79" name="Oval 78">
            <a:extLst>
              <a:ext uri="{FF2B5EF4-FFF2-40B4-BE49-F238E27FC236}">
                <a16:creationId xmlns:a16="http://schemas.microsoft.com/office/drawing/2014/main" id="{32E54D67-B7D9-EABD-F342-B5CDE8EF807B}"/>
              </a:ext>
            </a:extLst>
          </p:cNvPr>
          <p:cNvSpPr/>
          <p:nvPr/>
        </p:nvSpPr>
        <p:spPr>
          <a:xfrm>
            <a:off x="5976468" y="366818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E1702"/>
                </a:solidFill>
              </a:rPr>
              <a:t>1</a:t>
            </a:r>
          </a:p>
        </p:txBody>
      </p:sp>
      <p:sp>
        <p:nvSpPr>
          <p:cNvPr id="80" name="Oval 79">
            <a:extLst>
              <a:ext uri="{FF2B5EF4-FFF2-40B4-BE49-F238E27FC236}">
                <a16:creationId xmlns:a16="http://schemas.microsoft.com/office/drawing/2014/main" id="{02D4826B-FC34-884F-3ECE-6B12DF5E94F3}"/>
              </a:ext>
            </a:extLst>
          </p:cNvPr>
          <p:cNvSpPr/>
          <p:nvPr/>
        </p:nvSpPr>
        <p:spPr>
          <a:xfrm>
            <a:off x="5958814" y="394983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A5B27"/>
                </a:solidFill>
              </a:rPr>
              <a:t>2</a:t>
            </a:r>
          </a:p>
        </p:txBody>
      </p:sp>
      <p:sp>
        <p:nvSpPr>
          <p:cNvPr id="81" name="Oval 80">
            <a:extLst>
              <a:ext uri="{FF2B5EF4-FFF2-40B4-BE49-F238E27FC236}">
                <a16:creationId xmlns:a16="http://schemas.microsoft.com/office/drawing/2014/main" id="{D32C85D5-41A2-B298-2525-13EAC9A338FF}"/>
              </a:ext>
            </a:extLst>
          </p:cNvPr>
          <p:cNvSpPr/>
          <p:nvPr/>
        </p:nvSpPr>
        <p:spPr>
          <a:xfrm>
            <a:off x="5959307" y="420935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88125"/>
                </a:solidFill>
              </a:rPr>
              <a:t>3</a:t>
            </a:r>
          </a:p>
        </p:txBody>
      </p:sp>
      <p:sp>
        <p:nvSpPr>
          <p:cNvPr id="82" name="Oval 81">
            <a:extLst>
              <a:ext uri="{FF2B5EF4-FFF2-40B4-BE49-F238E27FC236}">
                <a16:creationId xmlns:a16="http://schemas.microsoft.com/office/drawing/2014/main" id="{3F360A41-E9DC-B1C0-A779-7726759C1E0B}"/>
              </a:ext>
            </a:extLst>
          </p:cNvPr>
          <p:cNvSpPr/>
          <p:nvPr/>
        </p:nvSpPr>
        <p:spPr>
          <a:xfrm>
            <a:off x="5958038" y="448598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F1A720"/>
                </a:solidFill>
              </a:rPr>
              <a:t>4</a:t>
            </a:r>
          </a:p>
        </p:txBody>
      </p:sp>
      <p:sp>
        <p:nvSpPr>
          <p:cNvPr id="83" name="Oval 82">
            <a:extLst>
              <a:ext uri="{FF2B5EF4-FFF2-40B4-BE49-F238E27FC236}">
                <a16:creationId xmlns:a16="http://schemas.microsoft.com/office/drawing/2014/main" id="{C2D5A562-FAFC-8408-A025-D72E5E376863}"/>
              </a:ext>
            </a:extLst>
          </p:cNvPr>
          <p:cNvSpPr/>
          <p:nvPr/>
        </p:nvSpPr>
        <p:spPr>
          <a:xfrm>
            <a:off x="5938731" y="4769870"/>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CCE15"/>
                </a:solidFill>
              </a:rPr>
              <a:t>5</a:t>
            </a:r>
          </a:p>
        </p:txBody>
      </p:sp>
      <p:sp>
        <p:nvSpPr>
          <p:cNvPr id="84" name="Oval 83">
            <a:extLst>
              <a:ext uri="{FF2B5EF4-FFF2-40B4-BE49-F238E27FC236}">
                <a16:creationId xmlns:a16="http://schemas.microsoft.com/office/drawing/2014/main" id="{8144A50D-4303-DBDF-3477-75B1B6C8502C}"/>
              </a:ext>
            </a:extLst>
          </p:cNvPr>
          <p:cNvSpPr/>
          <p:nvPr/>
        </p:nvSpPr>
        <p:spPr>
          <a:xfrm>
            <a:off x="5942286" y="504717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2DC26"/>
                </a:solidFill>
              </a:rPr>
              <a:t>6</a:t>
            </a:r>
          </a:p>
        </p:txBody>
      </p:sp>
      <p:sp>
        <p:nvSpPr>
          <p:cNvPr id="85" name="Oval 84">
            <a:extLst>
              <a:ext uri="{FF2B5EF4-FFF2-40B4-BE49-F238E27FC236}">
                <a16:creationId xmlns:a16="http://schemas.microsoft.com/office/drawing/2014/main" id="{E9E211E7-2097-8E9D-14FC-AA577D265ECA}"/>
              </a:ext>
            </a:extLst>
          </p:cNvPr>
          <p:cNvSpPr/>
          <p:nvPr/>
        </p:nvSpPr>
        <p:spPr>
          <a:xfrm>
            <a:off x="5951576" y="530978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AFCE36"/>
                </a:solidFill>
              </a:rPr>
              <a:t>7</a:t>
            </a:r>
          </a:p>
        </p:txBody>
      </p:sp>
      <p:sp>
        <p:nvSpPr>
          <p:cNvPr id="86" name="Oval 85">
            <a:extLst>
              <a:ext uri="{FF2B5EF4-FFF2-40B4-BE49-F238E27FC236}">
                <a16:creationId xmlns:a16="http://schemas.microsoft.com/office/drawing/2014/main" id="{59EF5397-57EF-6DF9-240F-AEFDE6B2816E}"/>
              </a:ext>
            </a:extLst>
          </p:cNvPr>
          <p:cNvSpPr/>
          <p:nvPr/>
        </p:nvSpPr>
        <p:spPr>
          <a:xfrm>
            <a:off x="5952609" y="557389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89C140"/>
                </a:solidFill>
              </a:rPr>
              <a:t>8</a:t>
            </a:r>
          </a:p>
        </p:txBody>
      </p:sp>
      <p:sp>
        <p:nvSpPr>
          <p:cNvPr id="87" name="Oval 86">
            <a:extLst>
              <a:ext uri="{FF2B5EF4-FFF2-40B4-BE49-F238E27FC236}">
                <a16:creationId xmlns:a16="http://schemas.microsoft.com/office/drawing/2014/main" id="{2A24DA0C-34CC-3951-B256-D254BE98D1CF}"/>
              </a:ext>
            </a:extLst>
          </p:cNvPr>
          <p:cNvSpPr/>
          <p:nvPr/>
        </p:nvSpPr>
        <p:spPr>
          <a:xfrm>
            <a:off x="5958316" y="5830937"/>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67B445"/>
                </a:solidFill>
              </a:rPr>
              <a:t>9</a:t>
            </a:r>
          </a:p>
        </p:txBody>
      </p:sp>
      <p:sp>
        <p:nvSpPr>
          <p:cNvPr id="88" name="Oval 87">
            <a:extLst>
              <a:ext uri="{FF2B5EF4-FFF2-40B4-BE49-F238E27FC236}">
                <a16:creationId xmlns:a16="http://schemas.microsoft.com/office/drawing/2014/main" id="{7CFB154F-0B5D-F560-E95A-EDF62D21D901}"/>
              </a:ext>
            </a:extLst>
          </p:cNvPr>
          <p:cNvSpPr/>
          <p:nvPr/>
        </p:nvSpPr>
        <p:spPr>
          <a:xfrm>
            <a:off x="5972291" y="6115132"/>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38A54E"/>
                </a:solidFill>
              </a:rPr>
              <a:t>10</a:t>
            </a:r>
            <a:endParaRPr lang="da-DK" sz="1200" b="1">
              <a:solidFill>
                <a:srgbClr val="38A54E"/>
              </a:solidFill>
            </a:endParaRPr>
          </a:p>
        </p:txBody>
      </p:sp>
      <p:cxnSp>
        <p:nvCxnSpPr>
          <p:cNvPr id="89" name="Straight Connector 88">
            <a:extLst>
              <a:ext uri="{FF2B5EF4-FFF2-40B4-BE49-F238E27FC236}">
                <a16:creationId xmlns:a16="http://schemas.microsoft.com/office/drawing/2014/main" id="{C88ACD33-8772-7464-9A19-D8E1FFCF861C}"/>
              </a:ext>
            </a:extLst>
          </p:cNvPr>
          <p:cNvCxnSpPr>
            <a:cxnSpLocks/>
            <a:endCxn id="23" idx="3"/>
          </p:cNvCxnSpPr>
          <p:nvPr/>
        </p:nvCxnSpPr>
        <p:spPr>
          <a:xfrm flipH="1">
            <a:off x="4318850" y="3469546"/>
            <a:ext cx="1920726" cy="191792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90" name="Oval 89">
            <a:extLst>
              <a:ext uri="{FF2B5EF4-FFF2-40B4-BE49-F238E27FC236}">
                <a16:creationId xmlns:a16="http://schemas.microsoft.com/office/drawing/2014/main" id="{3FCE8DCE-774A-C1DA-B134-5E5791FF00C7}"/>
              </a:ext>
            </a:extLst>
          </p:cNvPr>
          <p:cNvSpPr/>
          <p:nvPr/>
        </p:nvSpPr>
        <p:spPr>
          <a:xfrm>
            <a:off x="5706217" y="3515489"/>
            <a:ext cx="396000" cy="314641"/>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E1702"/>
                </a:solidFill>
              </a:rPr>
              <a:t>1</a:t>
            </a:r>
          </a:p>
        </p:txBody>
      </p:sp>
      <p:sp>
        <p:nvSpPr>
          <p:cNvPr id="91" name="Oval 90">
            <a:extLst>
              <a:ext uri="{FF2B5EF4-FFF2-40B4-BE49-F238E27FC236}">
                <a16:creationId xmlns:a16="http://schemas.microsoft.com/office/drawing/2014/main" id="{F7D91635-01C7-04C7-0562-6C75FCA33DEA}"/>
              </a:ext>
            </a:extLst>
          </p:cNvPr>
          <p:cNvSpPr/>
          <p:nvPr/>
        </p:nvSpPr>
        <p:spPr>
          <a:xfrm>
            <a:off x="5502539" y="3694930"/>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A5B27"/>
                </a:solidFill>
              </a:rPr>
              <a:t>2</a:t>
            </a:r>
          </a:p>
        </p:txBody>
      </p:sp>
      <p:sp>
        <p:nvSpPr>
          <p:cNvPr id="92" name="Oval 91">
            <a:extLst>
              <a:ext uri="{FF2B5EF4-FFF2-40B4-BE49-F238E27FC236}">
                <a16:creationId xmlns:a16="http://schemas.microsoft.com/office/drawing/2014/main" id="{5EA5CCB3-20CF-BE0A-86C2-52452C01F26A}"/>
              </a:ext>
            </a:extLst>
          </p:cNvPr>
          <p:cNvSpPr/>
          <p:nvPr/>
        </p:nvSpPr>
        <p:spPr>
          <a:xfrm>
            <a:off x="5314745" y="388757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88125"/>
                </a:solidFill>
              </a:rPr>
              <a:t>3</a:t>
            </a:r>
          </a:p>
        </p:txBody>
      </p:sp>
      <p:sp>
        <p:nvSpPr>
          <p:cNvPr id="93" name="Oval 92">
            <a:extLst>
              <a:ext uri="{FF2B5EF4-FFF2-40B4-BE49-F238E27FC236}">
                <a16:creationId xmlns:a16="http://schemas.microsoft.com/office/drawing/2014/main" id="{7591C11B-7D8B-A4C2-D0C7-0A4F18099E9C}"/>
              </a:ext>
            </a:extLst>
          </p:cNvPr>
          <p:cNvSpPr/>
          <p:nvPr/>
        </p:nvSpPr>
        <p:spPr>
          <a:xfrm>
            <a:off x="5102374" y="4090297"/>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F1A720"/>
                </a:solidFill>
              </a:rPr>
              <a:t>4</a:t>
            </a:r>
          </a:p>
        </p:txBody>
      </p:sp>
      <p:sp>
        <p:nvSpPr>
          <p:cNvPr id="94" name="Oval 93">
            <a:extLst>
              <a:ext uri="{FF2B5EF4-FFF2-40B4-BE49-F238E27FC236}">
                <a16:creationId xmlns:a16="http://schemas.microsoft.com/office/drawing/2014/main" id="{6CFD2353-F5EC-D1CF-E7DD-C011AB658344}"/>
              </a:ext>
            </a:extLst>
          </p:cNvPr>
          <p:cNvSpPr/>
          <p:nvPr/>
        </p:nvSpPr>
        <p:spPr>
          <a:xfrm>
            <a:off x="4917075" y="4283206"/>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ECCE15"/>
                </a:solidFill>
              </a:rPr>
              <a:t>5</a:t>
            </a:r>
          </a:p>
        </p:txBody>
      </p:sp>
      <p:sp>
        <p:nvSpPr>
          <p:cNvPr id="95" name="Oval 94">
            <a:extLst>
              <a:ext uri="{FF2B5EF4-FFF2-40B4-BE49-F238E27FC236}">
                <a16:creationId xmlns:a16="http://schemas.microsoft.com/office/drawing/2014/main" id="{4CD4A94F-3C3A-9F10-E771-A399451E62C9}"/>
              </a:ext>
            </a:extLst>
          </p:cNvPr>
          <p:cNvSpPr/>
          <p:nvPr/>
        </p:nvSpPr>
        <p:spPr>
          <a:xfrm>
            <a:off x="4715736" y="4459448"/>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D2DC26"/>
                </a:solidFill>
              </a:rPr>
              <a:t>6</a:t>
            </a:r>
          </a:p>
        </p:txBody>
      </p:sp>
      <p:sp>
        <p:nvSpPr>
          <p:cNvPr id="96" name="Oval 95">
            <a:extLst>
              <a:ext uri="{FF2B5EF4-FFF2-40B4-BE49-F238E27FC236}">
                <a16:creationId xmlns:a16="http://schemas.microsoft.com/office/drawing/2014/main" id="{4FCCA2AC-D549-381F-5FD1-27A718EA9E6F}"/>
              </a:ext>
            </a:extLst>
          </p:cNvPr>
          <p:cNvSpPr/>
          <p:nvPr/>
        </p:nvSpPr>
        <p:spPr>
          <a:xfrm>
            <a:off x="4533101" y="4628093"/>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AFCE36"/>
                </a:solidFill>
              </a:rPr>
              <a:t>7</a:t>
            </a:r>
          </a:p>
        </p:txBody>
      </p:sp>
      <p:sp>
        <p:nvSpPr>
          <p:cNvPr id="97" name="Oval 96">
            <a:extLst>
              <a:ext uri="{FF2B5EF4-FFF2-40B4-BE49-F238E27FC236}">
                <a16:creationId xmlns:a16="http://schemas.microsoft.com/office/drawing/2014/main" id="{11F75435-6BC0-8D5B-56F1-8A58AF0A4A29}"/>
              </a:ext>
            </a:extLst>
          </p:cNvPr>
          <p:cNvSpPr/>
          <p:nvPr/>
        </p:nvSpPr>
        <p:spPr>
          <a:xfrm>
            <a:off x="4338038" y="4799279"/>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89C140"/>
                </a:solidFill>
              </a:rPr>
              <a:t>8</a:t>
            </a:r>
          </a:p>
        </p:txBody>
      </p:sp>
      <p:sp>
        <p:nvSpPr>
          <p:cNvPr id="98" name="Oval 97">
            <a:extLst>
              <a:ext uri="{FF2B5EF4-FFF2-40B4-BE49-F238E27FC236}">
                <a16:creationId xmlns:a16="http://schemas.microsoft.com/office/drawing/2014/main" id="{9FFD97AA-D821-4FC9-2B08-1725D2457CE4}"/>
              </a:ext>
            </a:extLst>
          </p:cNvPr>
          <p:cNvSpPr/>
          <p:nvPr/>
        </p:nvSpPr>
        <p:spPr>
          <a:xfrm>
            <a:off x="4136400" y="504717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67B445"/>
                </a:solidFill>
              </a:rPr>
              <a:t>9</a:t>
            </a:r>
          </a:p>
        </p:txBody>
      </p:sp>
      <p:sp>
        <p:nvSpPr>
          <p:cNvPr id="99" name="Oval 98">
            <a:extLst>
              <a:ext uri="{FF2B5EF4-FFF2-40B4-BE49-F238E27FC236}">
                <a16:creationId xmlns:a16="http://schemas.microsoft.com/office/drawing/2014/main" id="{F20C9F7B-64E0-357B-80A5-E8AECE2243E1}"/>
              </a:ext>
            </a:extLst>
          </p:cNvPr>
          <p:cNvSpPr/>
          <p:nvPr/>
        </p:nvSpPr>
        <p:spPr>
          <a:xfrm>
            <a:off x="3947343" y="5209171"/>
            <a:ext cx="396000" cy="324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a-DK" sz="1000" b="1">
                <a:solidFill>
                  <a:srgbClr val="38A54E"/>
                </a:solidFill>
              </a:rPr>
              <a:t>10</a:t>
            </a:r>
            <a:endParaRPr lang="da-DK" sz="1200" b="1">
              <a:solidFill>
                <a:srgbClr val="38A54E"/>
              </a:solidFill>
            </a:endParaRPr>
          </a:p>
        </p:txBody>
      </p:sp>
      <p:sp>
        <p:nvSpPr>
          <p:cNvPr id="100" name="Rectangle 99">
            <a:extLst>
              <a:ext uri="{FF2B5EF4-FFF2-40B4-BE49-F238E27FC236}">
                <a16:creationId xmlns:a16="http://schemas.microsoft.com/office/drawing/2014/main" id="{AC0AE133-DBF2-B0ED-579B-DD3AE514FC8C}"/>
              </a:ext>
            </a:extLst>
          </p:cNvPr>
          <p:cNvSpPr/>
          <p:nvPr/>
        </p:nvSpPr>
        <p:spPr>
          <a:xfrm>
            <a:off x="4504782" y="104972"/>
            <a:ext cx="3859436" cy="615600"/>
          </a:xfrm>
          <a:prstGeom prst="rect">
            <a:avLst/>
          </a:prstGeom>
          <a:noFill/>
          <a:ln w="12700">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r>
              <a:rPr lang="da-DK" sz="1050" b="1" dirty="0">
                <a:solidFill>
                  <a:schemeClr val="accent1">
                    <a:lumMod val="25000"/>
                  </a:schemeClr>
                </a:solidFill>
                <a:latin typeface="Quicksand" panose="020B0604020202020204"/>
              </a:rPr>
              <a:t>Udsagn: </a:t>
            </a:r>
            <a:r>
              <a:rPr lang="da-DK" sz="1050" dirty="0">
                <a:solidFill>
                  <a:schemeClr val="accent1">
                    <a:lumMod val="25000"/>
                  </a:schemeClr>
                </a:solidFill>
                <a:latin typeface="Quicksand" panose="020B0604020202020204"/>
              </a:rPr>
              <a:t>Vi samarbejder med andre faggrupper og kolleger om praksis (Fx vejledere, ledere eller øvrigt pædagogisk personale)</a:t>
            </a:r>
          </a:p>
        </p:txBody>
      </p:sp>
      <p:sp>
        <p:nvSpPr>
          <p:cNvPr id="101" name="Rectangle 100">
            <a:extLst>
              <a:ext uri="{FF2B5EF4-FFF2-40B4-BE49-F238E27FC236}">
                <a16:creationId xmlns:a16="http://schemas.microsoft.com/office/drawing/2014/main" id="{367BA927-B859-B695-93DA-C61A848E6DC5}"/>
              </a:ext>
            </a:extLst>
          </p:cNvPr>
          <p:cNvSpPr/>
          <p:nvPr/>
        </p:nvSpPr>
        <p:spPr>
          <a:xfrm>
            <a:off x="8562016" y="1208694"/>
            <a:ext cx="1937126" cy="615600"/>
          </a:xfrm>
          <a:prstGeom prst="rect">
            <a:avLst/>
          </a:prstGeom>
          <a:noFill/>
          <a:ln w="12700">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r>
              <a:rPr lang="da-DK" sz="1050" b="1" dirty="0">
                <a:solidFill>
                  <a:schemeClr val="accent1">
                    <a:lumMod val="25000"/>
                  </a:schemeClr>
                </a:solidFill>
                <a:latin typeface="Quicksand" panose="020B0604020202020204"/>
              </a:rPr>
              <a:t>Udsagn: </a:t>
            </a:r>
            <a:r>
              <a:rPr lang="da-DK" sz="1050" dirty="0">
                <a:solidFill>
                  <a:schemeClr val="accent1">
                    <a:lumMod val="25000"/>
                  </a:schemeClr>
                </a:solidFill>
                <a:latin typeface="Quicksand" panose="020B0604020202020204"/>
              </a:rPr>
              <a:t>Vi evaluerer, hvordan vores samarbejde udvikler sig og kan forbedres</a:t>
            </a:r>
            <a:endParaRPr lang="da-DK" sz="1050" b="1" dirty="0">
              <a:solidFill>
                <a:schemeClr val="accent1">
                  <a:lumMod val="25000"/>
                </a:schemeClr>
              </a:solidFill>
              <a:latin typeface="Quicksand" panose="020B0604020202020204"/>
            </a:endParaRPr>
          </a:p>
        </p:txBody>
      </p:sp>
      <p:sp>
        <p:nvSpPr>
          <p:cNvPr id="102" name="Rectangle 101">
            <a:extLst>
              <a:ext uri="{FF2B5EF4-FFF2-40B4-BE49-F238E27FC236}">
                <a16:creationId xmlns:a16="http://schemas.microsoft.com/office/drawing/2014/main" id="{6107E906-8335-65CB-A0A6-DDB3F50955B2}"/>
              </a:ext>
            </a:extLst>
          </p:cNvPr>
          <p:cNvSpPr/>
          <p:nvPr/>
        </p:nvSpPr>
        <p:spPr>
          <a:xfrm>
            <a:off x="9270714" y="3357376"/>
            <a:ext cx="2411771" cy="615600"/>
          </a:xfrm>
          <a:prstGeom prst="rect">
            <a:avLst/>
          </a:prstGeom>
          <a:noFill/>
          <a:ln w="12700">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r>
              <a:rPr lang="da-DK" sz="1050" b="1" dirty="0">
                <a:solidFill>
                  <a:schemeClr val="accent1">
                    <a:lumMod val="25000"/>
                  </a:schemeClr>
                </a:solidFill>
                <a:latin typeface="Quicksand" panose="020B0604020202020204"/>
              </a:rPr>
              <a:t>Udsagn: </a:t>
            </a:r>
            <a:r>
              <a:rPr lang="da-DK" sz="1050" dirty="0">
                <a:solidFill>
                  <a:schemeClr val="accent1">
                    <a:lumMod val="25000"/>
                  </a:schemeClr>
                </a:solidFill>
                <a:latin typeface="Quicksand" panose="020B0604020202020204"/>
              </a:rPr>
              <a:t>Vi forholder os åbent og nysgerrigt til hinandens praksis</a:t>
            </a:r>
            <a:endParaRPr lang="da-DK" sz="1050" b="1" dirty="0">
              <a:solidFill>
                <a:schemeClr val="accent1">
                  <a:lumMod val="25000"/>
                </a:schemeClr>
              </a:solidFill>
              <a:latin typeface="Quicksand" panose="020B0604020202020204"/>
            </a:endParaRPr>
          </a:p>
        </p:txBody>
      </p:sp>
      <p:sp>
        <p:nvSpPr>
          <p:cNvPr id="103" name="Rectangle 102">
            <a:extLst>
              <a:ext uri="{FF2B5EF4-FFF2-40B4-BE49-F238E27FC236}">
                <a16:creationId xmlns:a16="http://schemas.microsoft.com/office/drawing/2014/main" id="{025C831B-99DA-2386-C177-7A9650295D0D}"/>
              </a:ext>
            </a:extLst>
          </p:cNvPr>
          <p:cNvSpPr/>
          <p:nvPr/>
        </p:nvSpPr>
        <p:spPr>
          <a:xfrm>
            <a:off x="8377923" y="5441142"/>
            <a:ext cx="2411770" cy="613934"/>
          </a:xfrm>
          <a:prstGeom prst="rect">
            <a:avLst/>
          </a:prstGeom>
          <a:noFill/>
          <a:ln w="12700">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r>
              <a:rPr lang="da-DK" sz="1050" b="1" dirty="0">
                <a:solidFill>
                  <a:schemeClr val="accent1">
                    <a:lumMod val="25000"/>
                  </a:schemeClr>
                </a:solidFill>
                <a:latin typeface="Quicksand" panose="020B0604020202020204"/>
              </a:rPr>
              <a:t>Udsagn: </a:t>
            </a:r>
            <a:r>
              <a:rPr lang="da-DK" sz="1050" dirty="0">
                <a:solidFill>
                  <a:schemeClr val="accent1">
                    <a:lumMod val="25000"/>
                  </a:schemeClr>
                </a:solidFill>
                <a:latin typeface="Quicksand" panose="020B0604020202020204"/>
              </a:rPr>
              <a:t>Vi inddrager regelmæssigt hinanden i udviklingen af egen praksis (fx ved at dele viden og erfaringer)</a:t>
            </a:r>
            <a:endParaRPr lang="da-DK" sz="1050" b="1" dirty="0">
              <a:solidFill>
                <a:schemeClr val="accent1">
                  <a:lumMod val="25000"/>
                </a:schemeClr>
              </a:solidFill>
              <a:latin typeface="Quicksand" panose="020B0604020202020204"/>
            </a:endParaRPr>
          </a:p>
        </p:txBody>
      </p:sp>
      <p:sp>
        <p:nvSpPr>
          <p:cNvPr id="104" name="Rectangle 103">
            <a:extLst>
              <a:ext uri="{FF2B5EF4-FFF2-40B4-BE49-F238E27FC236}">
                <a16:creationId xmlns:a16="http://schemas.microsoft.com/office/drawing/2014/main" id="{72674A13-8FC1-5B8C-3924-699BED0D2E39}"/>
              </a:ext>
            </a:extLst>
          </p:cNvPr>
          <p:cNvSpPr/>
          <p:nvPr/>
        </p:nvSpPr>
        <p:spPr>
          <a:xfrm>
            <a:off x="4764260" y="6400568"/>
            <a:ext cx="3527327" cy="615600"/>
          </a:xfrm>
          <a:prstGeom prst="rect">
            <a:avLst/>
          </a:prstGeom>
          <a:noFill/>
          <a:ln w="12700">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r>
              <a:rPr lang="da-DK" sz="1050" b="1">
                <a:solidFill>
                  <a:schemeClr val="accent1">
                    <a:lumMod val="25000"/>
                  </a:schemeClr>
                </a:solidFill>
                <a:latin typeface="Quicksand" panose="020B0604020202020204"/>
              </a:rPr>
              <a:t>Udsagn: </a:t>
            </a:r>
            <a:r>
              <a:rPr lang="da-DK" sz="1050">
                <a:solidFill>
                  <a:schemeClr val="accent1">
                    <a:lumMod val="25000"/>
                  </a:schemeClr>
                </a:solidFill>
                <a:latin typeface="Quicksand" panose="020B0604020202020204"/>
              </a:rPr>
              <a:t>Vi sætter tid af til analyse af vores praksis</a:t>
            </a:r>
            <a:endParaRPr lang="da-DK" sz="1050" b="1">
              <a:solidFill>
                <a:schemeClr val="accent1">
                  <a:lumMod val="25000"/>
                </a:schemeClr>
              </a:solidFill>
              <a:latin typeface="Quicksand" panose="020B0604020202020204"/>
            </a:endParaRPr>
          </a:p>
        </p:txBody>
      </p:sp>
      <p:sp>
        <p:nvSpPr>
          <p:cNvPr id="105" name="Rectangle 104">
            <a:extLst>
              <a:ext uri="{FF2B5EF4-FFF2-40B4-BE49-F238E27FC236}">
                <a16:creationId xmlns:a16="http://schemas.microsoft.com/office/drawing/2014/main" id="{79066C71-47F7-F8A5-C743-82F8D3F94675}"/>
              </a:ext>
            </a:extLst>
          </p:cNvPr>
          <p:cNvSpPr/>
          <p:nvPr/>
        </p:nvSpPr>
        <p:spPr>
          <a:xfrm>
            <a:off x="1017799" y="4942417"/>
            <a:ext cx="2816019" cy="615600"/>
          </a:xfrm>
          <a:prstGeom prst="rect">
            <a:avLst/>
          </a:prstGeom>
          <a:noFill/>
          <a:ln w="12700">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r>
              <a:rPr lang="da-DK" sz="1050" b="1" dirty="0">
                <a:solidFill>
                  <a:schemeClr val="accent1">
                    <a:lumMod val="25000"/>
                  </a:schemeClr>
                </a:solidFill>
                <a:latin typeface="Quicksand" panose="020B0604020202020204"/>
              </a:rPr>
              <a:t>Udsagn: </a:t>
            </a:r>
            <a:r>
              <a:rPr lang="da-DK" sz="1050" dirty="0">
                <a:solidFill>
                  <a:schemeClr val="accent1">
                    <a:lumMod val="25000"/>
                  </a:schemeClr>
                </a:solidFill>
                <a:latin typeface="Quicksand" panose="020B0604020202020204"/>
              </a:rPr>
              <a:t>Vi anvender systematisk data til at analysere elevernes læring og trivsel (fx som afsæt for at opstille nye mål og handlinger)</a:t>
            </a:r>
            <a:endParaRPr lang="da-DK" sz="1050" b="1" dirty="0">
              <a:solidFill>
                <a:schemeClr val="accent1">
                  <a:lumMod val="25000"/>
                </a:schemeClr>
              </a:solidFill>
              <a:latin typeface="Quicksand" panose="020B0604020202020204"/>
            </a:endParaRPr>
          </a:p>
        </p:txBody>
      </p:sp>
      <p:sp>
        <p:nvSpPr>
          <p:cNvPr id="106" name="Rectangle 105">
            <a:extLst>
              <a:ext uri="{FF2B5EF4-FFF2-40B4-BE49-F238E27FC236}">
                <a16:creationId xmlns:a16="http://schemas.microsoft.com/office/drawing/2014/main" id="{379DB852-5F8D-1037-031C-A8BDF5B09F8E}"/>
              </a:ext>
            </a:extLst>
          </p:cNvPr>
          <p:cNvSpPr/>
          <p:nvPr/>
        </p:nvSpPr>
        <p:spPr>
          <a:xfrm>
            <a:off x="1311964" y="3190262"/>
            <a:ext cx="2006147" cy="615600"/>
          </a:xfrm>
          <a:prstGeom prst="rect">
            <a:avLst/>
          </a:prstGeom>
          <a:noFill/>
          <a:ln w="12700">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r>
              <a:rPr lang="da-DK" sz="1050" b="1" dirty="0">
                <a:solidFill>
                  <a:schemeClr val="accent1">
                    <a:lumMod val="25000"/>
                  </a:schemeClr>
                </a:solidFill>
                <a:latin typeface="Quicksand" panose="020B0604020202020204"/>
              </a:rPr>
              <a:t>Udsagn: </a:t>
            </a:r>
            <a:r>
              <a:rPr lang="da-DK" sz="1050" dirty="0">
                <a:solidFill>
                  <a:schemeClr val="accent1">
                    <a:lumMod val="25000"/>
                  </a:schemeClr>
                </a:solidFill>
                <a:latin typeface="Quicksand" panose="020B0604020202020204"/>
              </a:rPr>
              <a:t>Vi arbejder </a:t>
            </a:r>
            <a:br>
              <a:rPr lang="da-DK" sz="1050" dirty="0">
                <a:solidFill>
                  <a:schemeClr val="accent1">
                    <a:lumMod val="25000"/>
                  </a:schemeClr>
                </a:solidFill>
                <a:latin typeface="Quicksand" panose="020B0604020202020204"/>
              </a:rPr>
            </a:br>
            <a:r>
              <a:rPr lang="da-DK" sz="1050" dirty="0">
                <a:solidFill>
                  <a:schemeClr val="accent1">
                    <a:lumMod val="25000"/>
                  </a:schemeClr>
                </a:solidFill>
                <a:latin typeface="Quicksand" panose="020B0604020202020204"/>
              </a:rPr>
              <a:t>sammen om elevernes trivsel </a:t>
            </a:r>
          </a:p>
        </p:txBody>
      </p:sp>
      <p:sp>
        <p:nvSpPr>
          <p:cNvPr id="107" name="Oval 106">
            <a:extLst>
              <a:ext uri="{FF2B5EF4-FFF2-40B4-BE49-F238E27FC236}">
                <a16:creationId xmlns:a16="http://schemas.microsoft.com/office/drawing/2014/main" id="{99B794CE-9B14-FE4D-9A7B-8142DE4AEA4D}"/>
              </a:ext>
            </a:extLst>
          </p:cNvPr>
          <p:cNvSpPr/>
          <p:nvPr/>
        </p:nvSpPr>
        <p:spPr>
          <a:xfrm>
            <a:off x="6128544" y="3387846"/>
            <a:ext cx="180000" cy="180000"/>
          </a:xfrm>
          <a:prstGeom prst="ellipse">
            <a:avLst/>
          </a:prstGeom>
          <a:solidFill>
            <a:schemeClr val="accent2"/>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08" name="Rectangle 107">
            <a:extLst>
              <a:ext uri="{FF2B5EF4-FFF2-40B4-BE49-F238E27FC236}">
                <a16:creationId xmlns:a16="http://schemas.microsoft.com/office/drawing/2014/main" id="{2032ACE5-B20F-8BE6-AC1B-8306389DE238}"/>
              </a:ext>
            </a:extLst>
          </p:cNvPr>
          <p:cNvSpPr/>
          <p:nvPr/>
        </p:nvSpPr>
        <p:spPr>
          <a:xfrm>
            <a:off x="2108711" y="1223521"/>
            <a:ext cx="1979898" cy="615600"/>
          </a:xfrm>
          <a:prstGeom prst="rect">
            <a:avLst/>
          </a:prstGeom>
          <a:noFill/>
          <a:ln w="12700">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r>
              <a:rPr lang="da-DK" sz="1050" b="1" dirty="0">
                <a:solidFill>
                  <a:schemeClr val="accent1">
                    <a:lumMod val="25000"/>
                  </a:schemeClr>
                </a:solidFill>
                <a:latin typeface="Quicksand" panose="020B0604020202020204"/>
              </a:rPr>
              <a:t>Udsagn: </a:t>
            </a:r>
            <a:r>
              <a:rPr lang="da-DK" sz="1050" dirty="0">
                <a:solidFill>
                  <a:schemeClr val="accent1">
                    <a:lumMod val="25000"/>
                  </a:schemeClr>
                </a:solidFill>
                <a:latin typeface="Quicksand" panose="020B0604020202020204"/>
              </a:rPr>
              <a:t>Vi arbejder </a:t>
            </a:r>
            <a:br>
              <a:rPr lang="da-DK" sz="1050" dirty="0">
                <a:solidFill>
                  <a:schemeClr val="accent1">
                    <a:lumMod val="25000"/>
                  </a:schemeClr>
                </a:solidFill>
                <a:latin typeface="Quicksand" panose="020B0604020202020204"/>
              </a:rPr>
            </a:br>
            <a:r>
              <a:rPr lang="da-DK" sz="1050" dirty="0">
                <a:solidFill>
                  <a:schemeClr val="accent1">
                    <a:lumMod val="25000"/>
                  </a:schemeClr>
                </a:solidFill>
                <a:latin typeface="Quicksand" panose="020B0604020202020204"/>
              </a:rPr>
              <a:t>sammen om elevernes læring</a:t>
            </a:r>
          </a:p>
        </p:txBody>
      </p:sp>
      <p:pic>
        <p:nvPicPr>
          <p:cNvPr id="109" name="Graphic 108" descr="Network">
            <a:extLst>
              <a:ext uri="{FF2B5EF4-FFF2-40B4-BE49-F238E27FC236}">
                <a16:creationId xmlns:a16="http://schemas.microsoft.com/office/drawing/2014/main" id="{786A075E-9904-23CE-2989-F1F39B0426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96954" y="372790"/>
            <a:ext cx="451165" cy="451165"/>
          </a:xfrm>
          <a:prstGeom prst="rect">
            <a:avLst/>
          </a:prstGeom>
        </p:spPr>
      </p:pic>
      <p:pic>
        <p:nvPicPr>
          <p:cNvPr id="110" name="Graphic 109" descr="Network">
            <a:extLst>
              <a:ext uri="{FF2B5EF4-FFF2-40B4-BE49-F238E27FC236}">
                <a16:creationId xmlns:a16="http://schemas.microsoft.com/office/drawing/2014/main" id="{67681D60-95DA-F970-02C9-2732995DEC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0542203">
            <a:off x="11681521" y="784990"/>
            <a:ext cx="451165" cy="451165"/>
          </a:xfrm>
          <a:prstGeom prst="rect">
            <a:avLst/>
          </a:prstGeom>
        </p:spPr>
      </p:pic>
      <p:pic>
        <p:nvPicPr>
          <p:cNvPr id="111" name="Graphic 110" descr="Network">
            <a:extLst>
              <a:ext uri="{FF2B5EF4-FFF2-40B4-BE49-F238E27FC236}">
                <a16:creationId xmlns:a16="http://schemas.microsoft.com/office/drawing/2014/main" id="{291906F8-D144-34C9-F797-B3AC272B9C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897239">
            <a:off x="11758848" y="5408200"/>
            <a:ext cx="451165" cy="451165"/>
          </a:xfrm>
          <a:prstGeom prst="rect">
            <a:avLst/>
          </a:prstGeom>
        </p:spPr>
      </p:pic>
      <p:pic>
        <p:nvPicPr>
          <p:cNvPr id="112" name="Graphic 111" descr="Network">
            <a:extLst>
              <a:ext uri="{FF2B5EF4-FFF2-40B4-BE49-F238E27FC236}">
                <a16:creationId xmlns:a16="http://schemas.microsoft.com/office/drawing/2014/main" id="{1BB3D9BA-5723-89CF-ED05-B546F159CB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50397" y="6019497"/>
            <a:ext cx="451165" cy="451165"/>
          </a:xfrm>
          <a:prstGeom prst="rect">
            <a:avLst/>
          </a:prstGeom>
        </p:spPr>
      </p:pic>
      <p:pic>
        <p:nvPicPr>
          <p:cNvPr id="113" name="Graphic 112" descr="Network">
            <a:extLst>
              <a:ext uri="{FF2B5EF4-FFF2-40B4-BE49-F238E27FC236}">
                <a16:creationId xmlns:a16="http://schemas.microsoft.com/office/drawing/2014/main" id="{B7048323-1835-140A-1915-1CD97CC37F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777360">
            <a:off x="3593923" y="5315720"/>
            <a:ext cx="451165" cy="451165"/>
          </a:xfrm>
          <a:prstGeom prst="rect">
            <a:avLst/>
          </a:prstGeom>
        </p:spPr>
      </p:pic>
      <p:pic>
        <p:nvPicPr>
          <p:cNvPr id="114" name="Graphic 113" descr="Network">
            <a:extLst>
              <a:ext uri="{FF2B5EF4-FFF2-40B4-BE49-F238E27FC236}">
                <a16:creationId xmlns:a16="http://schemas.microsoft.com/office/drawing/2014/main" id="{3AA9B6A5-71C4-6B4D-B0DC-55ED34BF3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0915985">
            <a:off x="3065600" y="2944951"/>
            <a:ext cx="451165" cy="451165"/>
          </a:xfrm>
          <a:prstGeom prst="rect">
            <a:avLst/>
          </a:prstGeom>
        </p:spPr>
      </p:pic>
      <p:pic>
        <p:nvPicPr>
          <p:cNvPr id="115" name="Graphic 114" descr="Network">
            <a:extLst>
              <a:ext uri="{FF2B5EF4-FFF2-40B4-BE49-F238E27FC236}">
                <a16:creationId xmlns:a16="http://schemas.microsoft.com/office/drawing/2014/main" id="{EC2DBA0C-73EF-3B51-FA69-138350B34C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38781" y="810690"/>
            <a:ext cx="451165" cy="451165"/>
          </a:xfrm>
          <a:prstGeom prst="rect">
            <a:avLst/>
          </a:prstGeom>
        </p:spPr>
      </p:pic>
      <p:cxnSp>
        <p:nvCxnSpPr>
          <p:cNvPr id="116" name="Straight Connector 115">
            <a:extLst>
              <a:ext uri="{FF2B5EF4-FFF2-40B4-BE49-F238E27FC236}">
                <a16:creationId xmlns:a16="http://schemas.microsoft.com/office/drawing/2014/main" id="{5DFABB09-275A-EA75-DA65-527F04D88B69}"/>
              </a:ext>
            </a:extLst>
          </p:cNvPr>
          <p:cNvCxnSpPr>
            <a:cxnSpLocks/>
          </p:cNvCxnSpPr>
          <p:nvPr/>
        </p:nvCxnSpPr>
        <p:spPr>
          <a:xfrm>
            <a:off x="6222599" y="3578766"/>
            <a:ext cx="19613" cy="260955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426367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C8CBB4C-8BA0-6989-BDFF-DD3E0194BCA2}"/>
              </a:ext>
            </a:extLst>
          </p:cNvPr>
          <p:cNvGraphicFramePr>
            <a:graphicFrameLocks noChangeAspect="1"/>
          </p:cNvGraphicFramePr>
          <p:nvPr>
            <p:custDataLst>
              <p:tags r:id="rId1"/>
            </p:custDataLst>
            <p:extLst>
              <p:ext uri="{D42A27DB-BD31-4B8C-83A1-F6EECF244321}">
                <p14:modId xmlns:p14="http://schemas.microsoft.com/office/powerpoint/2010/main" val="1073891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3" name="think-cell data - do not delete" hidden="1">
                        <a:extLst>
                          <a:ext uri="{FF2B5EF4-FFF2-40B4-BE49-F238E27FC236}">
                            <a16:creationId xmlns:a16="http://schemas.microsoft.com/office/drawing/2014/main" id="{DC8CBB4C-8BA0-6989-BDFF-DD3E0194BC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EC62CC9-DAC0-7AE8-5F1B-AF176413630D}"/>
              </a:ext>
            </a:extLst>
          </p:cNvPr>
          <p:cNvSpPr>
            <a:spLocks noGrp="1"/>
          </p:cNvSpPr>
          <p:nvPr>
            <p:ph type="sldNum" sz="quarter" idx="17"/>
          </p:nvPr>
        </p:nvSpPr>
        <p:spPr/>
        <p:txBody>
          <a:bodyPr/>
          <a:lstStyle/>
          <a:p>
            <a:fld id="{23AA811B-2EBD-4900-905E-5BE206449611}" type="slidenum">
              <a:rPr lang="da-DK" smtClean="0"/>
              <a:pPr/>
              <a:t>2</a:t>
            </a:fld>
            <a:endParaRPr lang="da-DK"/>
          </a:p>
        </p:txBody>
      </p:sp>
      <p:sp>
        <p:nvSpPr>
          <p:cNvPr id="5" name="Google Shape;694;p13">
            <a:extLst>
              <a:ext uri="{FF2B5EF4-FFF2-40B4-BE49-F238E27FC236}">
                <a16:creationId xmlns:a16="http://schemas.microsoft.com/office/drawing/2014/main" id="{AD3D37A8-46DD-F98B-6B94-348909E4AB67}"/>
              </a:ext>
            </a:extLst>
          </p:cNvPr>
          <p:cNvSpPr txBox="1">
            <a:spLocks noGrp="1"/>
          </p:cNvSpPr>
          <p:nvPr>
            <p:ph type="ctrTitle"/>
          </p:nvPr>
        </p:nvSpPr>
        <p:spPr>
          <a:xfrm>
            <a:off x="2194560" y="2590197"/>
            <a:ext cx="7951304" cy="1984631"/>
          </a:xfrm>
          <a:prstGeom prst="rect">
            <a:avLst/>
          </a:prstGeom>
        </p:spPr>
        <p:txBody>
          <a:bodyPr spcFirstLastPara="1" wrap="square" lIns="0" tIns="0" rIns="0" bIns="0" anchor="ctr" anchorCtr="0">
            <a:noAutofit/>
          </a:bodyPr>
          <a:lstStyle/>
          <a:p>
            <a:pPr algn="ctr"/>
            <a:r>
              <a:rPr lang="da-DK" sz="4800" b="1" dirty="0">
                <a:latin typeface="Amatic SC" panose="00000500000000000000" pitchFamily="2" charset="-79"/>
                <a:cs typeface="Amatic SC" panose="00000500000000000000" pitchFamily="2" charset="-79"/>
              </a:rPr>
              <a:t>Sådan kan I understøtte skolernes arbejde med resultaterne fra </a:t>
            </a:r>
            <a:br>
              <a:rPr lang="da-DK" sz="4800" b="1" dirty="0">
                <a:latin typeface="Amatic SC" panose="00000500000000000000" pitchFamily="2" charset="-79"/>
                <a:cs typeface="Amatic SC" panose="00000500000000000000" pitchFamily="2" charset="-79"/>
              </a:rPr>
            </a:br>
            <a:r>
              <a:rPr lang="da-DK" sz="4800" b="1" dirty="0">
                <a:latin typeface="Amatic SC" panose="00000500000000000000" pitchFamily="2" charset="-79"/>
                <a:cs typeface="Amatic SC" panose="00000500000000000000" pitchFamily="2" charset="-79"/>
              </a:rPr>
              <a:t>Den mangfoldige folkeskole</a:t>
            </a:r>
            <a:endParaRPr lang="da-DK" sz="8000" dirty="0">
              <a:latin typeface="Amatic SC" panose="00000500000000000000" pitchFamily="2" charset="-79"/>
              <a:cs typeface="Amatic SC" panose="00000500000000000000" pitchFamily="2" charset="-79"/>
            </a:endParaRPr>
          </a:p>
        </p:txBody>
      </p:sp>
    </p:spTree>
    <p:extLst>
      <p:ext uri="{BB962C8B-B14F-4D97-AF65-F5344CB8AC3E}">
        <p14:creationId xmlns:p14="http://schemas.microsoft.com/office/powerpoint/2010/main" val="1870273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3</a:t>
            </a:fld>
            <a:endParaRPr lang="da-DK"/>
          </a:p>
        </p:txBody>
      </p:sp>
      <p:sp>
        <p:nvSpPr>
          <p:cNvPr id="6" name="Slide Number Placeholder 3">
            <a:extLst>
              <a:ext uri="{FF2B5EF4-FFF2-40B4-BE49-F238E27FC236}">
                <a16:creationId xmlns:a16="http://schemas.microsoft.com/office/drawing/2014/main" id="{39CB2AEC-1378-C3A5-143E-AA8B5BA7C9F4}"/>
              </a:ext>
            </a:extLst>
          </p:cNvPr>
          <p:cNvSpPr txBox="1">
            <a:spLocks/>
          </p:cNvSpPr>
          <p:nvPr/>
        </p:nvSpPr>
        <p:spPr>
          <a:xfrm>
            <a:off x="11206800" y="6476400"/>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da-DK" smtClean="0"/>
              <a:pPr/>
              <a:t>3</a:t>
            </a:fld>
            <a:endParaRPr lang="da-DK"/>
          </a:p>
        </p:txBody>
      </p:sp>
      <p:sp>
        <p:nvSpPr>
          <p:cNvPr id="3" name="TextBox 2">
            <a:extLst>
              <a:ext uri="{FF2B5EF4-FFF2-40B4-BE49-F238E27FC236}">
                <a16:creationId xmlns:a16="http://schemas.microsoft.com/office/drawing/2014/main" id="{4B35FB4C-B695-AE26-424C-A3936D9D2A5C}"/>
              </a:ext>
            </a:extLst>
          </p:cNvPr>
          <p:cNvSpPr txBox="1"/>
          <p:nvPr/>
        </p:nvSpPr>
        <p:spPr>
          <a:xfrm>
            <a:off x="0" y="435435"/>
            <a:ext cx="12192000" cy="707886"/>
          </a:xfrm>
          <a:prstGeom prst="rect">
            <a:avLst/>
          </a:prstGeom>
          <a:noFill/>
        </p:spPr>
        <p:txBody>
          <a:bodyPr wrap="square">
            <a:spAutoFit/>
          </a:bodyPr>
          <a:lstStyle/>
          <a:p>
            <a:pPr marL="0" lvl="0" indent="0" algn="ctr">
              <a:spcBef>
                <a:spcPts val="0"/>
              </a:spcBef>
              <a:spcAft>
                <a:spcPts val="0"/>
              </a:spcAft>
              <a:buNone/>
            </a:pPr>
            <a:r>
              <a:rPr lang="da-DK" sz="4000" b="1">
                <a:latin typeface="Amatic SC"/>
                <a:ea typeface="Amatic SC"/>
                <a:cs typeface="Amatic SC"/>
                <a:sym typeface="Amatic SC"/>
              </a:rPr>
              <a:t>Tre procesgreb til at understøtte skolernes arbejde med, at…</a:t>
            </a:r>
          </a:p>
        </p:txBody>
      </p:sp>
      <p:pic>
        <p:nvPicPr>
          <p:cNvPr id="8" name="Graphic 7">
            <a:extLst>
              <a:ext uri="{FF2B5EF4-FFF2-40B4-BE49-F238E27FC236}">
                <a16:creationId xmlns:a16="http://schemas.microsoft.com/office/drawing/2014/main" id="{DFBC8100-E5DD-D13F-0653-02DEED976E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52777" y="2820251"/>
            <a:ext cx="6545292" cy="1096611"/>
          </a:xfrm>
          <a:prstGeom prst="rect">
            <a:avLst/>
          </a:prstGeom>
        </p:spPr>
      </p:pic>
      <p:sp>
        <p:nvSpPr>
          <p:cNvPr id="9" name="TextBox 8">
            <a:extLst>
              <a:ext uri="{FF2B5EF4-FFF2-40B4-BE49-F238E27FC236}">
                <a16:creationId xmlns:a16="http://schemas.microsoft.com/office/drawing/2014/main" id="{DEC9A846-F9EE-A3F4-ECAA-41CB1B6BE37F}"/>
              </a:ext>
            </a:extLst>
          </p:cNvPr>
          <p:cNvSpPr txBox="1"/>
          <p:nvPr/>
        </p:nvSpPr>
        <p:spPr>
          <a:xfrm>
            <a:off x="2865405" y="3183890"/>
            <a:ext cx="6438977" cy="369332"/>
          </a:xfrm>
          <a:custGeom>
            <a:avLst/>
            <a:gdLst>
              <a:gd name="connsiteX0" fmla="*/ 0 w 6438977"/>
              <a:gd name="connsiteY0" fmla="*/ 0 h 369332"/>
              <a:gd name="connsiteX1" fmla="*/ 579508 w 6438977"/>
              <a:gd name="connsiteY1" fmla="*/ 0 h 369332"/>
              <a:gd name="connsiteX2" fmla="*/ 1030236 w 6438977"/>
              <a:gd name="connsiteY2" fmla="*/ 0 h 369332"/>
              <a:gd name="connsiteX3" fmla="*/ 1802914 w 6438977"/>
              <a:gd name="connsiteY3" fmla="*/ 0 h 369332"/>
              <a:gd name="connsiteX4" fmla="*/ 2382421 w 6438977"/>
              <a:gd name="connsiteY4" fmla="*/ 0 h 369332"/>
              <a:gd name="connsiteX5" fmla="*/ 2961929 w 6438977"/>
              <a:gd name="connsiteY5" fmla="*/ 0 h 369332"/>
              <a:gd name="connsiteX6" fmla="*/ 3734607 w 6438977"/>
              <a:gd name="connsiteY6" fmla="*/ 0 h 369332"/>
              <a:gd name="connsiteX7" fmla="*/ 4249725 w 6438977"/>
              <a:gd name="connsiteY7" fmla="*/ 0 h 369332"/>
              <a:gd name="connsiteX8" fmla="*/ 5022402 w 6438977"/>
              <a:gd name="connsiteY8" fmla="*/ 0 h 369332"/>
              <a:gd name="connsiteX9" fmla="*/ 5795079 w 6438977"/>
              <a:gd name="connsiteY9" fmla="*/ 0 h 369332"/>
              <a:gd name="connsiteX10" fmla="*/ 6438977 w 6438977"/>
              <a:gd name="connsiteY10" fmla="*/ 0 h 369332"/>
              <a:gd name="connsiteX11" fmla="*/ 6438977 w 6438977"/>
              <a:gd name="connsiteY11" fmla="*/ 369332 h 369332"/>
              <a:gd name="connsiteX12" fmla="*/ 5730690 w 6438977"/>
              <a:gd name="connsiteY12" fmla="*/ 369332 h 369332"/>
              <a:gd name="connsiteX13" fmla="*/ 4958012 w 6438977"/>
              <a:gd name="connsiteY13" fmla="*/ 369332 h 369332"/>
              <a:gd name="connsiteX14" fmla="*/ 4185335 w 6438977"/>
              <a:gd name="connsiteY14" fmla="*/ 369332 h 369332"/>
              <a:gd name="connsiteX15" fmla="*/ 3670217 w 6438977"/>
              <a:gd name="connsiteY15" fmla="*/ 369332 h 369332"/>
              <a:gd name="connsiteX16" fmla="*/ 3026319 w 6438977"/>
              <a:gd name="connsiteY16" fmla="*/ 369332 h 369332"/>
              <a:gd name="connsiteX17" fmla="*/ 2253642 w 6438977"/>
              <a:gd name="connsiteY17" fmla="*/ 369332 h 369332"/>
              <a:gd name="connsiteX18" fmla="*/ 1609744 w 6438977"/>
              <a:gd name="connsiteY18" fmla="*/ 369332 h 369332"/>
              <a:gd name="connsiteX19" fmla="*/ 1159016 w 6438977"/>
              <a:gd name="connsiteY19" fmla="*/ 369332 h 369332"/>
              <a:gd name="connsiteX20" fmla="*/ 643898 w 6438977"/>
              <a:gd name="connsiteY20" fmla="*/ 369332 h 369332"/>
              <a:gd name="connsiteX21" fmla="*/ 0 w 6438977"/>
              <a:gd name="connsiteY21" fmla="*/ 369332 h 369332"/>
              <a:gd name="connsiteX22" fmla="*/ 0 w 6438977"/>
              <a:gd name="connsiteY22"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38977" h="369332" extrusionOk="0">
                <a:moveTo>
                  <a:pt x="0" y="0"/>
                </a:moveTo>
                <a:cubicBezTo>
                  <a:pt x="118695" y="-6254"/>
                  <a:pt x="408319" y="6666"/>
                  <a:pt x="579508" y="0"/>
                </a:cubicBezTo>
                <a:cubicBezTo>
                  <a:pt x="750697" y="-6666"/>
                  <a:pt x="889998" y="18805"/>
                  <a:pt x="1030236" y="0"/>
                </a:cubicBezTo>
                <a:cubicBezTo>
                  <a:pt x="1170474" y="-18805"/>
                  <a:pt x="1527522" y="6458"/>
                  <a:pt x="1802914" y="0"/>
                </a:cubicBezTo>
                <a:cubicBezTo>
                  <a:pt x="2078306" y="-6458"/>
                  <a:pt x="2096769" y="-2091"/>
                  <a:pt x="2382421" y="0"/>
                </a:cubicBezTo>
                <a:cubicBezTo>
                  <a:pt x="2668073" y="2091"/>
                  <a:pt x="2834823" y="-17968"/>
                  <a:pt x="2961929" y="0"/>
                </a:cubicBezTo>
                <a:cubicBezTo>
                  <a:pt x="3089035" y="17968"/>
                  <a:pt x="3557915" y="-5849"/>
                  <a:pt x="3734607" y="0"/>
                </a:cubicBezTo>
                <a:cubicBezTo>
                  <a:pt x="3911299" y="5849"/>
                  <a:pt x="4136726" y="-13415"/>
                  <a:pt x="4249725" y="0"/>
                </a:cubicBezTo>
                <a:cubicBezTo>
                  <a:pt x="4362724" y="13415"/>
                  <a:pt x="4742902" y="-3434"/>
                  <a:pt x="5022402" y="0"/>
                </a:cubicBezTo>
                <a:cubicBezTo>
                  <a:pt x="5301902" y="3434"/>
                  <a:pt x="5466018" y="-7764"/>
                  <a:pt x="5795079" y="0"/>
                </a:cubicBezTo>
                <a:cubicBezTo>
                  <a:pt x="6124140" y="7764"/>
                  <a:pt x="6206218" y="-8126"/>
                  <a:pt x="6438977" y="0"/>
                </a:cubicBezTo>
                <a:cubicBezTo>
                  <a:pt x="6422262" y="83761"/>
                  <a:pt x="6436814" y="261680"/>
                  <a:pt x="6438977" y="369332"/>
                </a:cubicBezTo>
                <a:cubicBezTo>
                  <a:pt x="6249491" y="391722"/>
                  <a:pt x="6043389" y="363993"/>
                  <a:pt x="5730690" y="369332"/>
                </a:cubicBezTo>
                <a:cubicBezTo>
                  <a:pt x="5417991" y="374671"/>
                  <a:pt x="5183744" y="396140"/>
                  <a:pt x="4958012" y="369332"/>
                </a:cubicBezTo>
                <a:cubicBezTo>
                  <a:pt x="4732280" y="342524"/>
                  <a:pt x="4531453" y="363398"/>
                  <a:pt x="4185335" y="369332"/>
                </a:cubicBezTo>
                <a:cubicBezTo>
                  <a:pt x="3839217" y="375266"/>
                  <a:pt x="3801381" y="354597"/>
                  <a:pt x="3670217" y="369332"/>
                </a:cubicBezTo>
                <a:cubicBezTo>
                  <a:pt x="3539053" y="384067"/>
                  <a:pt x="3163210" y="350116"/>
                  <a:pt x="3026319" y="369332"/>
                </a:cubicBezTo>
                <a:cubicBezTo>
                  <a:pt x="2889428" y="388548"/>
                  <a:pt x="2437829" y="372219"/>
                  <a:pt x="2253642" y="369332"/>
                </a:cubicBezTo>
                <a:cubicBezTo>
                  <a:pt x="2069455" y="366445"/>
                  <a:pt x="1879672" y="350626"/>
                  <a:pt x="1609744" y="369332"/>
                </a:cubicBezTo>
                <a:cubicBezTo>
                  <a:pt x="1339816" y="388038"/>
                  <a:pt x="1284093" y="348229"/>
                  <a:pt x="1159016" y="369332"/>
                </a:cubicBezTo>
                <a:cubicBezTo>
                  <a:pt x="1033939" y="390435"/>
                  <a:pt x="778623" y="375081"/>
                  <a:pt x="643898" y="369332"/>
                </a:cubicBezTo>
                <a:cubicBezTo>
                  <a:pt x="509173" y="363583"/>
                  <a:pt x="159005" y="386616"/>
                  <a:pt x="0" y="369332"/>
                </a:cubicBezTo>
                <a:cubicBezTo>
                  <a:pt x="-15370" y="278669"/>
                  <a:pt x="-3231" y="117837"/>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pPr algn="ctr"/>
            <a:r>
              <a:rPr lang="da-DK" sz="2500" b="1" dirty="0">
                <a:solidFill>
                  <a:schemeClr val="bg1"/>
                </a:solidFill>
                <a:latin typeface="Amatic SC" panose="00000500000000000000" pitchFamily="2" charset="-79"/>
                <a:cs typeface="Amatic SC" panose="00000500000000000000" pitchFamily="2" charset="-79"/>
              </a:rPr>
              <a:t>del viden lokalt på skolen</a:t>
            </a:r>
          </a:p>
        </p:txBody>
      </p:sp>
      <p:pic>
        <p:nvPicPr>
          <p:cNvPr id="10" name="Graphic 9">
            <a:extLst>
              <a:ext uri="{FF2B5EF4-FFF2-40B4-BE49-F238E27FC236}">
                <a16:creationId xmlns:a16="http://schemas.microsoft.com/office/drawing/2014/main" id="{3920E2A0-DB02-A690-9804-A2C5D07C0A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52776" y="1584235"/>
            <a:ext cx="6545293" cy="1096611"/>
          </a:xfrm>
          <a:prstGeom prst="rect">
            <a:avLst/>
          </a:prstGeom>
        </p:spPr>
      </p:pic>
      <p:sp>
        <p:nvSpPr>
          <p:cNvPr id="37" name="TextBox 36">
            <a:extLst>
              <a:ext uri="{FF2B5EF4-FFF2-40B4-BE49-F238E27FC236}">
                <a16:creationId xmlns:a16="http://schemas.microsoft.com/office/drawing/2014/main" id="{9AEAC837-E003-6CF0-23CC-4F997E8E24F6}"/>
              </a:ext>
            </a:extLst>
          </p:cNvPr>
          <p:cNvSpPr txBox="1"/>
          <p:nvPr/>
        </p:nvSpPr>
        <p:spPr>
          <a:xfrm>
            <a:off x="3332132" y="1940179"/>
            <a:ext cx="5181661" cy="384721"/>
          </a:xfrm>
          <a:custGeom>
            <a:avLst/>
            <a:gdLst>
              <a:gd name="connsiteX0" fmla="*/ 0 w 5181661"/>
              <a:gd name="connsiteY0" fmla="*/ 0 h 384721"/>
              <a:gd name="connsiteX1" fmla="*/ 595891 w 5181661"/>
              <a:gd name="connsiteY1" fmla="*/ 0 h 384721"/>
              <a:gd name="connsiteX2" fmla="*/ 1088149 w 5181661"/>
              <a:gd name="connsiteY2" fmla="*/ 0 h 384721"/>
              <a:gd name="connsiteX3" fmla="*/ 1839490 w 5181661"/>
              <a:gd name="connsiteY3" fmla="*/ 0 h 384721"/>
              <a:gd name="connsiteX4" fmla="*/ 2435381 w 5181661"/>
              <a:gd name="connsiteY4" fmla="*/ 0 h 384721"/>
              <a:gd name="connsiteX5" fmla="*/ 3031272 w 5181661"/>
              <a:gd name="connsiteY5" fmla="*/ 0 h 384721"/>
              <a:gd name="connsiteX6" fmla="*/ 3782613 w 5181661"/>
              <a:gd name="connsiteY6" fmla="*/ 0 h 384721"/>
              <a:gd name="connsiteX7" fmla="*/ 4326687 w 5181661"/>
              <a:gd name="connsiteY7" fmla="*/ 0 h 384721"/>
              <a:gd name="connsiteX8" fmla="*/ 5181661 w 5181661"/>
              <a:gd name="connsiteY8" fmla="*/ 0 h 384721"/>
              <a:gd name="connsiteX9" fmla="*/ 5181661 w 5181661"/>
              <a:gd name="connsiteY9" fmla="*/ 384721 h 384721"/>
              <a:gd name="connsiteX10" fmla="*/ 4637587 w 5181661"/>
              <a:gd name="connsiteY10" fmla="*/ 384721 h 384721"/>
              <a:gd name="connsiteX11" fmla="*/ 3989879 w 5181661"/>
              <a:gd name="connsiteY11" fmla="*/ 384721 h 384721"/>
              <a:gd name="connsiteX12" fmla="*/ 3393988 w 5181661"/>
              <a:gd name="connsiteY12" fmla="*/ 384721 h 384721"/>
              <a:gd name="connsiteX13" fmla="*/ 2642647 w 5181661"/>
              <a:gd name="connsiteY13" fmla="*/ 384721 h 384721"/>
              <a:gd name="connsiteX14" fmla="*/ 1891306 w 5181661"/>
              <a:gd name="connsiteY14" fmla="*/ 384721 h 384721"/>
              <a:gd name="connsiteX15" fmla="*/ 1347232 w 5181661"/>
              <a:gd name="connsiteY15" fmla="*/ 384721 h 384721"/>
              <a:gd name="connsiteX16" fmla="*/ 699524 w 5181661"/>
              <a:gd name="connsiteY16" fmla="*/ 384721 h 384721"/>
              <a:gd name="connsiteX17" fmla="*/ 0 w 5181661"/>
              <a:gd name="connsiteY17" fmla="*/ 384721 h 384721"/>
              <a:gd name="connsiteX18" fmla="*/ 0 w 5181661"/>
              <a:gd name="connsiteY18" fmla="*/ 0 h 38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81661" h="384721" extrusionOk="0">
                <a:moveTo>
                  <a:pt x="0" y="0"/>
                </a:moveTo>
                <a:cubicBezTo>
                  <a:pt x="243858" y="16698"/>
                  <a:pt x="433306" y="-6869"/>
                  <a:pt x="595891" y="0"/>
                </a:cubicBezTo>
                <a:cubicBezTo>
                  <a:pt x="758476" y="6869"/>
                  <a:pt x="923921" y="-4667"/>
                  <a:pt x="1088149" y="0"/>
                </a:cubicBezTo>
                <a:cubicBezTo>
                  <a:pt x="1252377" y="4667"/>
                  <a:pt x="1465409" y="-11455"/>
                  <a:pt x="1839490" y="0"/>
                </a:cubicBezTo>
                <a:cubicBezTo>
                  <a:pt x="2213571" y="11455"/>
                  <a:pt x="2310988" y="-6430"/>
                  <a:pt x="2435381" y="0"/>
                </a:cubicBezTo>
                <a:cubicBezTo>
                  <a:pt x="2559774" y="6430"/>
                  <a:pt x="2807549" y="21565"/>
                  <a:pt x="3031272" y="0"/>
                </a:cubicBezTo>
                <a:cubicBezTo>
                  <a:pt x="3254995" y="-21565"/>
                  <a:pt x="3523360" y="-7448"/>
                  <a:pt x="3782613" y="0"/>
                </a:cubicBezTo>
                <a:cubicBezTo>
                  <a:pt x="4041866" y="7448"/>
                  <a:pt x="4155936" y="-13363"/>
                  <a:pt x="4326687" y="0"/>
                </a:cubicBezTo>
                <a:cubicBezTo>
                  <a:pt x="4497438" y="13363"/>
                  <a:pt x="4879883" y="-41384"/>
                  <a:pt x="5181661" y="0"/>
                </a:cubicBezTo>
                <a:cubicBezTo>
                  <a:pt x="5185624" y="96104"/>
                  <a:pt x="5182273" y="192540"/>
                  <a:pt x="5181661" y="384721"/>
                </a:cubicBezTo>
                <a:cubicBezTo>
                  <a:pt x="4931464" y="399846"/>
                  <a:pt x="4804505" y="403758"/>
                  <a:pt x="4637587" y="384721"/>
                </a:cubicBezTo>
                <a:cubicBezTo>
                  <a:pt x="4470669" y="365684"/>
                  <a:pt x="4141639" y="373890"/>
                  <a:pt x="3989879" y="384721"/>
                </a:cubicBezTo>
                <a:cubicBezTo>
                  <a:pt x="3838119" y="395552"/>
                  <a:pt x="3521622" y="399837"/>
                  <a:pt x="3393988" y="384721"/>
                </a:cubicBezTo>
                <a:cubicBezTo>
                  <a:pt x="3266354" y="369605"/>
                  <a:pt x="2807463" y="349090"/>
                  <a:pt x="2642647" y="384721"/>
                </a:cubicBezTo>
                <a:cubicBezTo>
                  <a:pt x="2477831" y="420352"/>
                  <a:pt x="2176938" y="372883"/>
                  <a:pt x="1891306" y="384721"/>
                </a:cubicBezTo>
                <a:cubicBezTo>
                  <a:pt x="1605674" y="396559"/>
                  <a:pt x="1611794" y="373929"/>
                  <a:pt x="1347232" y="384721"/>
                </a:cubicBezTo>
                <a:cubicBezTo>
                  <a:pt x="1082670" y="395513"/>
                  <a:pt x="996816" y="354361"/>
                  <a:pt x="699524" y="384721"/>
                </a:cubicBezTo>
                <a:cubicBezTo>
                  <a:pt x="402232" y="415081"/>
                  <a:pt x="307000" y="393720"/>
                  <a:pt x="0" y="384721"/>
                </a:cubicBezTo>
                <a:cubicBezTo>
                  <a:pt x="12024" y="282741"/>
                  <a:pt x="-12199" y="14051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2500" b="1" dirty="0">
                <a:solidFill>
                  <a:schemeClr val="bg1"/>
                </a:solidFill>
                <a:latin typeface="Amatic SC" panose="00000500000000000000" pitchFamily="2" charset="-79"/>
                <a:cs typeface="Amatic SC" panose="00000500000000000000" pitchFamily="2" charset="-79"/>
              </a:rPr>
              <a:t>omsæt det lokale børnesyn i praksis</a:t>
            </a:r>
          </a:p>
        </p:txBody>
      </p:sp>
      <p:pic>
        <p:nvPicPr>
          <p:cNvPr id="11" name="Graphic 10">
            <a:extLst>
              <a:ext uri="{FF2B5EF4-FFF2-40B4-BE49-F238E27FC236}">
                <a16:creationId xmlns:a16="http://schemas.microsoft.com/office/drawing/2014/main" id="{B3F7FDD5-BD04-F10E-7B1C-E3AC61BF48D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52777" y="4052196"/>
            <a:ext cx="6545292" cy="1096611"/>
          </a:xfrm>
          <a:prstGeom prst="rect">
            <a:avLst/>
          </a:prstGeom>
        </p:spPr>
      </p:pic>
      <p:sp>
        <p:nvSpPr>
          <p:cNvPr id="35" name="TextBox 34">
            <a:extLst>
              <a:ext uri="{FF2B5EF4-FFF2-40B4-BE49-F238E27FC236}">
                <a16:creationId xmlns:a16="http://schemas.microsoft.com/office/drawing/2014/main" id="{BD80DA7B-C6EE-05D9-E0A1-401CF99F0282}"/>
              </a:ext>
            </a:extLst>
          </p:cNvPr>
          <p:cNvSpPr txBox="1"/>
          <p:nvPr/>
        </p:nvSpPr>
        <p:spPr>
          <a:xfrm>
            <a:off x="3332132" y="4408140"/>
            <a:ext cx="5181661" cy="384721"/>
          </a:xfrm>
          <a:custGeom>
            <a:avLst/>
            <a:gdLst>
              <a:gd name="connsiteX0" fmla="*/ 0 w 5181661"/>
              <a:gd name="connsiteY0" fmla="*/ 0 h 384721"/>
              <a:gd name="connsiteX1" fmla="*/ 595891 w 5181661"/>
              <a:gd name="connsiteY1" fmla="*/ 0 h 384721"/>
              <a:gd name="connsiteX2" fmla="*/ 1088149 w 5181661"/>
              <a:gd name="connsiteY2" fmla="*/ 0 h 384721"/>
              <a:gd name="connsiteX3" fmla="*/ 1839490 w 5181661"/>
              <a:gd name="connsiteY3" fmla="*/ 0 h 384721"/>
              <a:gd name="connsiteX4" fmla="*/ 2435381 w 5181661"/>
              <a:gd name="connsiteY4" fmla="*/ 0 h 384721"/>
              <a:gd name="connsiteX5" fmla="*/ 3031272 w 5181661"/>
              <a:gd name="connsiteY5" fmla="*/ 0 h 384721"/>
              <a:gd name="connsiteX6" fmla="*/ 3782613 w 5181661"/>
              <a:gd name="connsiteY6" fmla="*/ 0 h 384721"/>
              <a:gd name="connsiteX7" fmla="*/ 4326687 w 5181661"/>
              <a:gd name="connsiteY7" fmla="*/ 0 h 384721"/>
              <a:gd name="connsiteX8" fmla="*/ 5181661 w 5181661"/>
              <a:gd name="connsiteY8" fmla="*/ 0 h 384721"/>
              <a:gd name="connsiteX9" fmla="*/ 5181661 w 5181661"/>
              <a:gd name="connsiteY9" fmla="*/ 384721 h 384721"/>
              <a:gd name="connsiteX10" fmla="*/ 4637587 w 5181661"/>
              <a:gd name="connsiteY10" fmla="*/ 384721 h 384721"/>
              <a:gd name="connsiteX11" fmla="*/ 3989879 w 5181661"/>
              <a:gd name="connsiteY11" fmla="*/ 384721 h 384721"/>
              <a:gd name="connsiteX12" fmla="*/ 3393988 w 5181661"/>
              <a:gd name="connsiteY12" fmla="*/ 384721 h 384721"/>
              <a:gd name="connsiteX13" fmla="*/ 2642647 w 5181661"/>
              <a:gd name="connsiteY13" fmla="*/ 384721 h 384721"/>
              <a:gd name="connsiteX14" fmla="*/ 1891306 w 5181661"/>
              <a:gd name="connsiteY14" fmla="*/ 384721 h 384721"/>
              <a:gd name="connsiteX15" fmla="*/ 1347232 w 5181661"/>
              <a:gd name="connsiteY15" fmla="*/ 384721 h 384721"/>
              <a:gd name="connsiteX16" fmla="*/ 699524 w 5181661"/>
              <a:gd name="connsiteY16" fmla="*/ 384721 h 384721"/>
              <a:gd name="connsiteX17" fmla="*/ 0 w 5181661"/>
              <a:gd name="connsiteY17" fmla="*/ 384721 h 384721"/>
              <a:gd name="connsiteX18" fmla="*/ 0 w 5181661"/>
              <a:gd name="connsiteY18" fmla="*/ 0 h 38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81661" h="384721" extrusionOk="0">
                <a:moveTo>
                  <a:pt x="0" y="0"/>
                </a:moveTo>
                <a:cubicBezTo>
                  <a:pt x="243858" y="16698"/>
                  <a:pt x="433306" y="-6869"/>
                  <a:pt x="595891" y="0"/>
                </a:cubicBezTo>
                <a:cubicBezTo>
                  <a:pt x="758476" y="6869"/>
                  <a:pt x="923921" y="-4667"/>
                  <a:pt x="1088149" y="0"/>
                </a:cubicBezTo>
                <a:cubicBezTo>
                  <a:pt x="1252377" y="4667"/>
                  <a:pt x="1465409" y="-11455"/>
                  <a:pt x="1839490" y="0"/>
                </a:cubicBezTo>
                <a:cubicBezTo>
                  <a:pt x="2213571" y="11455"/>
                  <a:pt x="2310988" y="-6430"/>
                  <a:pt x="2435381" y="0"/>
                </a:cubicBezTo>
                <a:cubicBezTo>
                  <a:pt x="2559774" y="6430"/>
                  <a:pt x="2807549" y="21565"/>
                  <a:pt x="3031272" y="0"/>
                </a:cubicBezTo>
                <a:cubicBezTo>
                  <a:pt x="3254995" y="-21565"/>
                  <a:pt x="3523360" y="-7448"/>
                  <a:pt x="3782613" y="0"/>
                </a:cubicBezTo>
                <a:cubicBezTo>
                  <a:pt x="4041866" y="7448"/>
                  <a:pt x="4155936" y="-13363"/>
                  <a:pt x="4326687" y="0"/>
                </a:cubicBezTo>
                <a:cubicBezTo>
                  <a:pt x="4497438" y="13363"/>
                  <a:pt x="4879883" y="-41384"/>
                  <a:pt x="5181661" y="0"/>
                </a:cubicBezTo>
                <a:cubicBezTo>
                  <a:pt x="5185624" y="96104"/>
                  <a:pt x="5182273" y="192540"/>
                  <a:pt x="5181661" y="384721"/>
                </a:cubicBezTo>
                <a:cubicBezTo>
                  <a:pt x="4931464" y="399846"/>
                  <a:pt x="4804505" y="403758"/>
                  <a:pt x="4637587" y="384721"/>
                </a:cubicBezTo>
                <a:cubicBezTo>
                  <a:pt x="4470669" y="365684"/>
                  <a:pt x="4141639" y="373890"/>
                  <a:pt x="3989879" y="384721"/>
                </a:cubicBezTo>
                <a:cubicBezTo>
                  <a:pt x="3838119" y="395552"/>
                  <a:pt x="3521622" y="399837"/>
                  <a:pt x="3393988" y="384721"/>
                </a:cubicBezTo>
                <a:cubicBezTo>
                  <a:pt x="3266354" y="369605"/>
                  <a:pt x="2807463" y="349090"/>
                  <a:pt x="2642647" y="384721"/>
                </a:cubicBezTo>
                <a:cubicBezTo>
                  <a:pt x="2477831" y="420352"/>
                  <a:pt x="2176938" y="372883"/>
                  <a:pt x="1891306" y="384721"/>
                </a:cubicBezTo>
                <a:cubicBezTo>
                  <a:pt x="1605674" y="396559"/>
                  <a:pt x="1611794" y="373929"/>
                  <a:pt x="1347232" y="384721"/>
                </a:cubicBezTo>
                <a:cubicBezTo>
                  <a:pt x="1082670" y="395513"/>
                  <a:pt x="996816" y="354361"/>
                  <a:pt x="699524" y="384721"/>
                </a:cubicBezTo>
                <a:cubicBezTo>
                  <a:pt x="402232" y="415081"/>
                  <a:pt x="307000" y="393720"/>
                  <a:pt x="0" y="384721"/>
                </a:cubicBezTo>
                <a:cubicBezTo>
                  <a:pt x="12024" y="282741"/>
                  <a:pt x="-12199" y="14051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2500" b="1" dirty="0">
                <a:solidFill>
                  <a:schemeClr val="bg1"/>
                </a:solidFill>
                <a:latin typeface="Amatic SC" panose="00000500000000000000" pitchFamily="2" charset="-79"/>
                <a:cs typeface="Amatic SC" panose="00000500000000000000" pitchFamily="2" charset="-79"/>
              </a:rPr>
              <a:t>Sæt fokus på Teamsamarbejdet</a:t>
            </a:r>
          </a:p>
        </p:txBody>
      </p:sp>
      <p:pic>
        <p:nvPicPr>
          <p:cNvPr id="13" name="Graphic 12" descr="Compass with solid fill">
            <a:extLst>
              <a:ext uri="{FF2B5EF4-FFF2-40B4-BE49-F238E27FC236}">
                <a16:creationId xmlns:a16="http://schemas.microsoft.com/office/drawing/2014/main" id="{7C87478D-D004-0C68-F64F-02A135A309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49742" y="1727068"/>
            <a:ext cx="783408" cy="783408"/>
          </a:xfrm>
          <a:prstGeom prst="rect">
            <a:avLst/>
          </a:prstGeom>
        </p:spPr>
      </p:pic>
      <p:pic>
        <p:nvPicPr>
          <p:cNvPr id="14" name="Graphic 13" descr="Teacher outline">
            <a:extLst>
              <a:ext uri="{FF2B5EF4-FFF2-40B4-BE49-F238E27FC236}">
                <a16:creationId xmlns:a16="http://schemas.microsoft.com/office/drawing/2014/main" id="{4EA5370C-F0DC-6FFD-51D8-6E2BDB123AB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084246" y="2959824"/>
            <a:ext cx="914400" cy="914400"/>
          </a:xfrm>
          <a:prstGeom prst="rect">
            <a:avLst/>
          </a:prstGeom>
        </p:spPr>
      </p:pic>
      <p:pic>
        <p:nvPicPr>
          <p:cNvPr id="16" name="Graphic 15" descr="Handshake outline">
            <a:extLst>
              <a:ext uri="{FF2B5EF4-FFF2-40B4-BE49-F238E27FC236}">
                <a16:creationId xmlns:a16="http://schemas.microsoft.com/office/drawing/2014/main" id="{112035FF-181A-8E6B-3293-64636909D68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084246" y="4143300"/>
            <a:ext cx="914400" cy="914400"/>
          </a:xfrm>
          <a:prstGeom prst="rect">
            <a:avLst/>
          </a:prstGeom>
        </p:spPr>
      </p:pic>
    </p:spTree>
    <p:extLst>
      <p:ext uri="{BB962C8B-B14F-4D97-AF65-F5344CB8AC3E}">
        <p14:creationId xmlns:p14="http://schemas.microsoft.com/office/powerpoint/2010/main" val="28883734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4</a:t>
            </a:fld>
            <a:endParaRPr lang="da-DK"/>
          </a:p>
        </p:txBody>
      </p:sp>
      <p:sp>
        <p:nvSpPr>
          <p:cNvPr id="12" name="Google Shape;843;p29">
            <a:extLst>
              <a:ext uri="{FF2B5EF4-FFF2-40B4-BE49-F238E27FC236}">
                <a16:creationId xmlns:a16="http://schemas.microsoft.com/office/drawing/2014/main" id="{7863966F-5A3D-4358-A359-6A15BA528247}"/>
              </a:ext>
            </a:extLst>
          </p:cNvPr>
          <p:cNvSpPr/>
          <p:nvPr/>
        </p:nvSpPr>
        <p:spPr>
          <a:xfrm>
            <a:off x="0" y="347677"/>
            <a:ext cx="12192000" cy="856671"/>
          </a:xfrm>
          <a:prstGeom prst="rect">
            <a:avLst/>
          </a:prstGeom>
          <a:solidFill>
            <a:schemeClr val="accent3"/>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4000" b="1">
                <a:solidFill>
                  <a:schemeClr val="bg1"/>
                </a:solidFill>
                <a:latin typeface="Amatic SC"/>
                <a:ea typeface="Amatic SC"/>
                <a:cs typeface="Amatic SC"/>
                <a:sym typeface="Amatic SC"/>
              </a:rPr>
              <a:t>Omsæt det lokale børnesyn i praksis </a:t>
            </a:r>
          </a:p>
        </p:txBody>
      </p:sp>
      <p:sp>
        <p:nvSpPr>
          <p:cNvPr id="18" name="Google Shape;847;p29">
            <a:extLst>
              <a:ext uri="{FF2B5EF4-FFF2-40B4-BE49-F238E27FC236}">
                <a16:creationId xmlns:a16="http://schemas.microsoft.com/office/drawing/2014/main" id="{E75F0905-924B-3BC4-1970-AAB17E4BC93D}"/>
              </a:ext>
            </a:extLst>
          </p:cNvPr>
          <p:cNvSpPr txBox="1"/>
          <p:nvPr/>
        </p:nvSpPr>
        <p:spPr>
          <a:xfrm>
            <a:off x="901243" y="1682072"/>
            <a:ext cx="6827773" cy="3903662"/>
          </a:xfrm>
          <a:prstGeom prst="rect">
            <a:avLst/>
          </a:prstGeom>
          <a:noFill/>
          <a:ln>
            <a:noFill/>
          </a:ln>
        </p:spPr>
        <p:txBody>
          <a:bodyPr spcFirstLastPara="1" wrap="square" lIns="0" tIns="18000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200" b="1" i="0" u="none" strike="noStrike" kern="1200" cap="none" spc="0" normalizeH="0" baseline="0" noProof="0" dirty="0">
                <a:ln>
                  <a:noFill/>
                </a:ln>
                <a:solidFill>
                  <a:srgbClr val="273F68"/>
                </a:solidFill>
                <a:effectLst/>
                <a:uLnTx/>
                <a:uFillTx/>
                <a:latin typeface="Amatic SC"/>
                <a:ea typeface="+mn-ea"/>
                <a:cs typeface="Amatic SC"/>
                <a:sym typeface="Quicksand"/>
              </a:rPr>
              <a:t>Evalueringen viser, at:</a:t>
            </a:r>
            <a:endParaRPr kumimoji="0" lang="da-DK" sz="2200" b="1" i="0" u="none" strike="noStrike" kern="1200" cap="none" spc="0" normalizeH="0" baseline="0" noProof="0" dirty="0">
              <a:ln>
                <a:noFill/>
              </a:ln>
              <a:solidFill>
                <a:srgbClr val="273F68"/>
              </a:solidFill>
              <a:effectLst/>
              <a:uLnTx/>
              <a:uFillTx/>
              <a:latin typeface="Quicksand"/>
              <a:ea typeface="Quicksand"/>
              <a:cs typeface="Quicksand"/>
              <a:sym typeface="Quicksand"/>
            </a:endParaRPr>
          </a:p>
          <a:p>
            <a:endParaRPr lang="da-DK" sz="1500" dirty="0">
              <a:latin typeface="Quicksand" panose="020B0604020202020204" charset="0"/>
              <a:ea typeface="Quicksand"/>
              <a:cs typeface="Quicksand" panose="020B0604020202020204" charset="0"/>
              <a:sym typeface="Quicksand"/>
            </a:endParaRPr>
          </a:p>
          <a:p>
            <a:pPr lvl="1"/>
            <a:r>
              <a:rPr lang="da-DK" sz="1500" dirty="0">
                <a:latin typeface="Quicksand" panose="020B0604020202020204"/>
                <a:cs typeface="Amatic SC" panose="00000500000000000000" pitchFamily="2" charset="-79"/>
              </a:rPr>
              <a:t>Flere blandt ledere og pædagogisk personale angiver i spørgeskemaundersøgelsen, at de oplever, at deres skole har fået en </a:t>
            </a:r>
            <a:r>
              <a:rPr lang="da-DK" sz="1500" b="1" dirty="0">
                <a:latin typeface="Quicksand" panose="020B0604020202020204"/>
                <a:cs typeface="Amatic SC" panose="00000500000000000000" pitchFamily="2" charset="-79"/>
              </a:rPr>
              <a:t>stærkere</a:t>
            </a:r>
            <a:r>
              <a:rPr lang="da-DK" sz="1500" dirty="0">
                <a:latin typeface="Quicksand" panose="020B0604020202020204"/>
                <a:cs typeface="Amatic SC" panose="00000500000000000000" pitchFamily="2" charset="-79"/>
              </a:rPr>
              <a:t> </a:t>
            </a:r>
            <a:r>
              <a:rPr lang="da-DK" sz="1500" b="1" dirty="0">
                <a:latin typeface="Quicksand" panose="020B0604020202020204"/>
                <a:cs typeface="Amatic SC" panose="00000500000000000000" pitchFamily="2" charset="-79"/>
              </a:rPr>
              <a:t>vision</a:t>
            </a:r>
            <a:r>
              <a:rPr lang="da-DK" sz="1500" dirty="0">
                <a:latin typeface="Quicksand" panose="020B0604020202020204"/>
                <a:cs typeface="Amatic SC" panose="00000500000000000000" pitchFamily="2" charset="-79"/>
              </a:rPr>
              <a:t> </a:t>
            </a:r>
            <a:r>
              <a:rPr lang="da-DK" sz="1500" b="1" dirty="0">
                <a:latin typeface="Quicksand" panose="020B0604020202020204"/>
                <a:cs typeface="Amatic SC" panose="00000500000000000000" pitchFamily="2" charset="-79"/>
              </a:rPr>
              <a:t>for deres arbejde og et stærkere fælles børnesyn.</a:t>
            </a:r>
          </a:p>
          <a:p>
            <a:pPr lvl="1"/>
            <a:br>
              <a:rPr lang="da-DK" sz="1500" dirty="0">
                <a:latin typeface="Quicksand" panose="020B0604020202020204" charset="0"/>
                <a:ea typeface="Quicksand"/>
                <a:cs typeface="Quicksand" panose="020B0604020202020204" charset="0"/>
                <a:sym typeface="Quicksand"/>
              </a:rPr>
            </a:br>
            <a:r>
              <a:rPr lang="da-DK" sz="1500" dirty="0">
                <a:latin typeface="Quicksand" panose="020B0604020202020204" charset="0"/>
                <a:ea typeface="Quicksand"/>
                <a:cs typeface="Quicksand" panose="020B0604020202020204" charset="0"/>
                <a:sym typeface="Quicksand"/>
              </a:rPr>
              <a:t>Et </a:t>
            </a:r>
            <a:r>
              <a:rPr lang="da-DK" sz="1500" dirty="0">
                <a:latin typeface="Quicksand" panose="020B0604020202020204"/>
                <a:cs typeface="Amatic SC" panose="00000500000000000000" pitchFamily="2" charset="-79"/>
              </a:rPr>
              <a:t>fælles børnesyn skaber </a:t>
            </a:r>
            <a:r>
              <a:rPr lang="da-DK" sz="1500" b="1" dirty="0">
                <a:latin typeface="Quicksand" panose="020B0604020202020204"/>
                <a:cs typeface="Amatic SC" panose="00000500000000000000" pitchFamily="2" charset="-79"/>
              </a:rPr>
              <a:t>et fælles afsæt </a:t>
            </a:r>
            <a:r>
              <a:rPr lang="da-DK" sz="1500" dirty="0">
                <a:latin typeface="Quicksand" panose="020B0604020202020204"/>
                <a:cs typeface="Amatic SC" panose="00000500000000000000" pitchFamily="2" charset="-79"/>
              </a:rPr>
              <a:t>for at finde gode løsninger sammen.</a:t>
            </a:r>
            <a:r>
              <a:rPr lang="da-DK" sz="1500" dirty="0">
                <a:latin typeface="Quicksand" panose="020B0604020202020204" charset="0"/>
                <a:ea typeface="Quicksand"/>
                <a:cs typeface="Quicksand" panose="020B0604020202020204" charset="0"/>
                <a:sym typeface="Quicksand"/>
              </a:rPr>
              <a:t> Fx oplever pædagogisk personale, at </a:t>
            </a:r>
            <a:r>
              <a:rPr lang="da-DK" sz="1500" dirty="0">
                <a:latin typeface="Quicksand" panose="020B0604020202020204"/>
                <a:cs typeface="Amatic SC" panose="00000500000000000000" pitchFamily="2" charset="-79"/>
              </a:rPr>
              <a:t>aktionslæring er særligt motiverende, når de har fælles viden og børnesyn som afsæt for drøftelserne i deres teams. </a:t>
            </a:r>
            <a:endParaRPr lang="da-DK" sz="1500" dirty="0">
              <a:latin typeface="Quicksand" panose="020B0604020202020204" charset="0"/>
              <a:ea typeface="Quicksand"/>
              <a:cs typeface="Quicksand" panose="020B0604020202020204" charset="0"/>
              <a:sym typeface="Quicksand"/>
            </a:endParaRPr>
          </a:p>
          <a:p>
            <a:pPr lvl="1"/>
            <a:endParaRPr lang="da-DK" sz="1500" dirty="0">
              <a:latin typeface="Quicksand" panose="020B0604020202020204" charset="0"/>
              <a:ea typeface="Quicksand"/>
              <a:cs typeface="Quicksand" panose="020B0604020202020204" charset="0"/>
              <a:sym typeface="Quicksand"/>
            </a:endParaRPr>
          </a:p>
          <a:p>
            <a:pPr lvl="1"/>
            <a:r>
              <a:rPr lang="da-DK" sz="1500" dirty="0">
                <a:latin typeface="Quicksand" panose="020B0604020202020204" charset="0"/>
                <a:ea typeface="Quicksand"/>
                <a:cs typeface="Quicksand" panose="020B0604020202020204" charset="0"/>
                <a:sym typeface="Quicksand"/>
              </a:rPr>
              <a:t>Flere skoler har udarbejdet et lokalt børnesyn eller arbejder efter et fælles kommunalt børnesyn. Dog mangler flere skoler greb til, hvordan de </a:t>
            </a:r>
            <a:br>
              <a:rPr lang="da-DK" sz="1500" dirty="0">
                <a:latin typeface="Quicksand" panose="020B0604020202020204" charset="0"/>
                <a:ea typeface="Quicksand"/>
                <a:cs typeface="Quicksand" panose="020B0604020202020204" charset="0"/>
                <a:sym typeface="Quicksand"/>
              </a:rPr>
            </a:br>
            <a:r>
              <a:rPr lang="da-DK" sz="1500" b="1" dirty="0">
                <a:latin typeface="Quicksand" panose="020B0604020202020204" charset="0"/>
                <a:ea typeface="Quicksand"/>
                <a:cs typeface="Quicksand" panose="020B0604020202020204" charset="0"/>
                <a:sym typeface="Quicksand"/>
              </a:rPr>
              <a:t>omsætter børnesynet i praksis </a:t>
            </a:r>
            <a:r>
              <a:rPr lang="da-DK" sz="1500" dirty="0">
                <a:latin typeface="Quicksand" panose="020B0604020202020204" charset="0"/>
                <a:ea typeface="Quicksand"/>
                <a:cs typeface="Quicksand" panose="020B0604020202020204" charset="0"/>
                <a:sym typeface="Quicksand"/>
              </a:rPr>
              <a:t>på skolen.</a:t>
            </a:r>
          </a:p>
          <a:p>
            <a:endParaRPr lang="da-DK" sz="1600" dirty="0">
              <a:latin typeface="Quicksand" panose="020B0604020202020204" charset="0"/>
              <a:ea typeface="Quicksand"/>
              <a:cs typeface="Quicksand" panose="020B0604020202020204" charset="0"/>
              <a:sym typeface="Quicksand"/>
            </a:endParaRPr>
          </a:p>
          <a:p>
            <a:pPr lvl="0" algn="l">
              <a:lnSpc>
                <a:spcPct val="150000"/>
              </a:lnSpc>
              <a:spcBef>
                <a:spcPts val="0"/>
              </a:spcBef>
              <a:spcAft>
                <a:spcPts val="0"/>
              </a:spcAft>
            </a:pPr>
            <a:endParaRPr lang="da-DK" sz="1600" dirty="0">
              <a:latin typeface="Quicksand"/>
              <a:ea typeface="Quicksand"/>
              <a:cs typeface="Quicksand"/>
              <a:sym typeface="Quicksand"/>
            </a:endParaRPr>
          </a:p>
          <a:p>
            <a:pPr lvl="0" algn="l">
              <a:lnSpc>
                <a:spcPct val="150000"/>
              </a:lnSpc>
              <a:spcBef>
                <a:spcPts val="0"/>
              </a:spcBef>
              <a:spcAft>
                <a:spcPts val="0"/>
              </a:spcAft>
            </a:pPr>
            <a:endParaRPr lang="da-DK" dirty="0">
              <a:latin typeface="Quicksand"/>
              <a:ea typeface="Quicksand"/>
              <a:cs typeface="Quicksand"/>
              <a:sym typeface="Quicksand"/>
            </a:endParaRPr>
          </a:p>
        </p:txBody>
      </p:sp>
      <p:sp>
        <p:nvSpPr>
          <p:cNvPr id="19" name="Oval 18">
            <a:extLst>
              <a:ext uri="{FF2B5EF4-FFF2-40B4-BE49-F238E27FC236}">
                <a16:creationId xmlns:a16="http://schemas.microsoft.com/office/drawing/2014/main" id="{5C2336BC-D41F-CA56-5147-15378F625BA3}"/>
              </a:ext>
            </a:extLst>
          </p:cNvPr>
          <p:cNvSpPr/>
          <p:nvPr/>
        </p:nvSpPr>
        <p:spPr>
          <a:xfrm>
            <a:off x="901242" y="2422562"/>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20" name="Oval 19">
            <a:extLst>
              <a:ext uri="{FF2B5EF4-FFF2-40B4-BE49-F238E27FC236}">
                <a16:creationId xmlns:a16="http://schemas.microsoft.com/office/drawing/2014/main" id="{1094F839-C493-24F0-8079-1D56C890B99B}"/>
              </a:ext>
            </a:extLst>
          </p:cNvPr>
          <p:cNvSpPr/>
          <p:nvPr/>
        </p:nvSpPr>
        <p:spPr>
          <a:xfrm>
            <a:off x="901242" y="3314648"/>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21" name="Oval 20">
            <a:extLst>
              <a:ext uri="{FF2B5EF4-FFF2-40B4-BE49-F238E27FC236}">
                <a16:creationId xmlns:a16="http://schemas.microsoft.com/office/drawing/2014/main" id="{9F8DC36E-06D2-A37F-595A-9311B02B6E97}"/>
              </a:ext>
            </a:extLst>
          </p:cNvPr>
          <p:cNvSpPr/>
          <p:nvPr/>
        </p:nvSpPr>
        <p:spPr>
          <a:xfrm>
            <a:off x="901242" y="4249274"/>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
        <p:nvSpPr>
          <p:cNvPr id="22" name="TextBox 21">
            <a:extLst>
              <a:ext uri="{FF2B5EF4-FFF2-40B4-BE49-F238E27FC236}">
                <a16:creationId xmlns:a16="http://schemas.microsoft.com/office/drawing/2014/main" id="{389339BD-6554-FA1E-8811-F5E505839E91}"/>
              </a:ext>
            </a:extLst>
          </p:cNvPr>
          <p:cNvSpPr txBox="1"/>
          <p:nvPr/>
        </p:nvSpPr>
        <p:spPr>
          <a:xfrm>
            <a:off x="8475256" y="2721885"/>
            <a:ext cx="2993331" cy="2215991"/>
          </a:xfrm>
          <a:prstGeom prst="rect">
            <a:avLst/>
          </a:prstGeom>
          <a:noFill/>
          <a:ln>
            <a:noFill/>
          </a:ln>
        </p:spPr>
        <p:txBody>
          <a:bodyPr wrap="square" lIns="0" tIns="0" rIns="0" bIns="0" rtlCol="0">
            <a:spAutoFit/>
          </a:bodyPr>
          <a:lstStyle/>
          <a:p>
            <a:r>
              <a:rPr lang="da-DK" sz="1400" i="1" dirty="0">
                <a:solidFill>
                  <a:schemeClr val="accent3"/>
                </a:solidFill>
                <a:latin typeface="Quicksand" panose="020B0604020202020204" charset="0"/>
                <a:cs typeface="Quicksand" panose="020B0604020202020204" charset="0"/>
              </a:rPr>
              <a:t>Vi blev opmærksomme på, at vi havde et meget statisk børnesyn. Vi blev meget forskrækkede, for sådan så vi ikke os selv. Men da vi fik snakken, kunne vi se, at vi aftalte én ting i starten af skoleåret og holdt meget fast i det. Nu er vi mere dynamiske og prøver at tage revurderinger undervejs.</a:t>
            </a:r>
          </a:p>
          <a:p>
            <a:endParaRPr lang="da-DK" sz="1200" dirty="0">
              <a:solidFill>
                <a:schemeClr val="accent3"/>
              </a:solidFill>
              <a:latin typeface="Quicksand" panose="020B0604020202020204"/>
              <a:cs typeface="Amatic SC" panose="00000500000000000000" pitchFamily="2" charset="-79"/>
            </a:endParaRPr>
          </a:p>
          <a:p>
            <a:r>
              <a:rPr lang="da-DK" sz="1200" dirty="0">
                <a:solidFill>
                  <a:schemeClr val="accent3"/>
                </a:solidFill>
                <a:latin typeface="Quicksand" panose="020B0604020202020204"/>
                <a:cs typeface="Amatic SC" panose="00000500000000000000" pitchFamily="2" charset="-79"/>
              </a:rPr>
              <a:t>Vejleder</a:t>
            </a:r>
            <a:endParaRPr lang="da-DK" sz="1200" dirty="0">
              <a:solidFill>
                <a:schemeClr val="accent3"/>
              </a:solidFill>
              <a:latin typeface="Quicksand" panose="020B0604020202020204" charset="0"/>
              <a:cs typeface="Quicksand" panose="020B0604020202020204" charset="0"/>
            </a:endParaRPr>
          </a:p>
          <a:p>
            <a:endParaRPr lang="da-DK" sz="800" dirty="0">
              <a:latin typeface="Quicksand" panose="020B0604020202020204" charset="0"/>
              <a:cs typeface="Quicksand" panose="020B0604020202020204" charset="0"/>
            </a:endParaRPr>
          </a:p>
        </p:txBody>
      </p:sp>
      <p:pic>
        <p:nvPicPr>
          <p:cNvPr id="23" name="Graphic 22" descr="Open quotation mark with solid fill">
            <a:extLst>
              <a:ext uri="{FF2B5EF4-FFF2-40B4-BE49-F238E27FC236}">
                <a16:creationId xmlns:a16="http://schemas.microsoft.com/office/drawing/2014/main" id="{9A23D9D1-706C-DD4B-1B09-D3E1EE9E121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62391" y="1816275"/>
            <a:ext cx="914400" cy="914400"/>
          </a:xfrm>
          <a:prstGeom prst="rect">
            <a:avLst/>
          </a:prstGeom>
        </p:spPr>
      </p:pic>
      <p:pic>
        <p:nvPicPr>
          <p:cNvPr id="24" name="Graphic 23" descr="Compass with solid fill">
            <a:extLst>
              <a:ext uri="{FF2B5EF4-FFF2-40B4-BE49-F238E27FC236}">
                <a16:creationId xmlns:a16="http://schemas.microsoft.com/office/drawing/2014/main" id="{5EF02281-D869-A307-CF86-16808E2D4B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40042" y="384308"/>
            <a:ext cx="783408" cy="783408"/>
          </a:xfrm>
          <a:prstGeom prst="rect">
            <a:avLst/>
          </a:prstGeom>
        </p:spPr>
      </p:pic>
    </p:spTree>
    <p:extLst>
      <p:ext uri="{BB962C8B-B14F-4D97-AF65-F5344CB8AC3E}">
        <p14:creationId xmlns:p14="http://schemas.microsoft.com/office/powerpoint/2010/main" val="1822178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5</a:t>
            </a:fld>
            <a:endParaRPr lang="da-DK"/>
          </a:p>
        </p:txBody>
      </p:sp>
      <p:sp>
        <p:nvSpPr>
          <p:cNvPr id="10" name="Google Shape;847;p29">
            <a:extLst>
              <a:ext uri="{FF2B5EF4-FFF2-40B4-BE49-F238E27FC236}">
                <a16:creationId xmlns:a16="http://schemas.microsoft.com/office/drawing/2014/main" id="{CA6CEC05-D2DA-61EE-A665-32747A49023C}"/>
              </a:ext>
            </a:extLst>
          </p:cNvPr>
          <p:cNvSpPr txBox="1"/>
          <p:nvPr/>
        </p:nvSpPr>
        <p:spPr>
          <a:xfrm>
            <a:off x="901243" y="1333788"/>
            <a:ext cx="6137510" cy="5176719"/>
          </a:xfrm>
          <a:prstGeom prst="rect">
            <a:avLst/>
          </a:prstGeom>
          <a:noFill/>
          <a:ln>
            <a:noFill/>
          </a:ln>
        </p:spPr>
        <p:txBody>
          <a:bodyPr spcFirstLastPara="1" wrap="square" lIns="0" tIns="180000" rIns="0" bIns="0" anchor="t" anchorCtr="0">
            <a:noAutofit/>
          </a:bodyPr>
          <a:lstStyle/>
          <a:p>
            <a:r>
              <a:rPr lang="da-DK" sz="2200" b="1" dirty="0">
                <a:solidFill>
                  <a:srgbClr val="273F68"/>
                </a:solidFill>
                <a:latin typeface="Amatic SC"/>
                <a:cs typeface="Amatic SC"/>
                <a:sym typeface="Quicksand"/>
              </a:rPr>
              <a:t>Forslag til proces: </a:t>
            </a:r>
          </a:p>
          <a:p>
            <a:endParaRPr lang="da-DK" sz="1400" dirty="0">
              <a:latin typeface="Quicksand" panose="020B0604020202020204"/>
              <a:ea typeface="Quicksand" panose="020B0604020202020204"/>
              <a:cs typeface="Quicksand" panose="020B0604020202020204" charset="0"/>
              <a:sym typeface="Quicksand"/>
            </a:endParaRPr>
          </a:p>
          <a:p>
            <a:pPr lvl="1"/>
            <a:r>
              <a:rPr lang="da-DK" sz="1400" b="1" dirty="0">
                <a:latin typeface="Quicksand" panose="020B0604020202020204"/>
                <a:ea typeface="Quicksand" panose="020B0604020202020204"/>
                <a:cs typeface="Quicksand" panose="020B0604020202020204" charset="0"/>
                <a:sym typeface="Quicksand"/>
              </a:rPr>
              <a:t>Under</a:t>
            </a:r>
            <a:r>
              <a:rPr lang="da-DK" sz="1400" dirty="0">
                <a:latin typeface="Quicksand" panose="020B0604020202020204"/>
                <a:ea typeface="Quicksand" panose="020B0604020202020204"/>
                <a:cs typeface="Quicksand" panose="020B0604020202020204" charset="0"/>
                <a:sym typeface="Quicksand"/>
              </a:rPr>
              <a:t> </a:t>
            </a:r>
            <a:r>
              <a:rPr lang="da-DK" sz="1400" b="1" dirty="0">
                <a:latin typeface="Quicksand" panose="020B0604020202020204"/>
                <a:ea typeface="Quicksand" panose="020B0604020202020204"/>
                <a:cs typeface="Quicksand" panose="020B0604020202020204" charset="0"/>
                <a:sym typeface="Quicksand"/>
              </a:rPr>
              <a:t>skoleudviklingssamtalen </a:t>
            </a:r>
            <a:r>
              <a:rPr lang="da-DK" sz="1400" dirty="0">
                <a:latin typeface="Quicksand" panose="020B0604020202020204"/>
                <a:ea typeface="Quicksand" panose="020B0604020202020204"/>
                <a:cs typeface="Quicksand" panose="020B0604020202020204" charset="0"/>
                <a:sym typeface="Quicksand"/>
              </a:rPr>
              <a:t>indleder forvaltningen en snak om, hvordan skolen indtil nu har arbejdet med at udvikle et fælles børnesyn, som fremmer deltagelsesmuligheder for alle elever. Fx gennem spørgsmål som: </a:t>
            </a:r>
          </a:p>
          <a:p>
            <a:pPr marL="668338" lvl="1" indent="-211138">
              <a:spcBef>
                <a:spcPts val="6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ordan har I arbejdet med at udvikle et fælles børnesyn på skolen? </a:t>
            </a:r>
          </a:p>
          <a:p>
            <a:pPr marL="668338" lvl="1" indent="-211138">
              <a:spcBef>
                <a:spcPts val="6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ordan har I arbejdet med at sikre, at skolens børnesyn også omsættes i den daglige praksis? </a:t>
            </a:r>
          </a:p>
          <a:p>
            <a:pPr marL="668338" lvl="1" indent="-211138">
              <a:spcBef>
                <a:spcPts val="6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ilke udfordringer støder I på som ledelse ift. at understøtte, at jeres lokale børnesyn omsættes i den daglige praksis?</a:t>
            </a:r>
          </a:p>
          <a:p>
            <a:pPr marL="668338" lvl="1" indent="-211138">
              <a:spcBef>
                <a:spcPts val="6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ilke refleksioner gør I jer, når I ser data i jeres egen skolerapport?</a:t>
            </a:r>
          </a:p>
          <a:p>
            <a:pPr lvl="1"/>
            <a:endParaRPr lang="da-DK" sz="1400" dirty="0">
              <a:latin typeface="Quicksand" panose="020B0604020202020204"/>
              <a:ea typeface="Quicksand" panose="020B0604020202020204"/>
              <a:cs typeface="Quicksand" panose="020B0604020202020204" charset="0"/>
              <a:sym typeface="Quicksand"/>
            </a:endParaRPr>
          </a:p>
          <a:p>
            <a:pPr lvl="1"/>
            <a:r>
              <a:rPr lang="da-DK" sz="1400" b="1" dirty="0">
                <a:latin typeface="Quicksand" panose="020B0604020202020204"/>
              </a:rPr>
              <a:t>Forvaltningen og ledelsen drøfter</a:t>
            </a:r>
            <a:r>
              <a:rPr lang="da-DK" sz="1400" dirty="0">
                <a:latin typeface="Quicksand" panose="020B0604020202020204"/>
              </a:rPr>
              <a:t>, hvordan ledelsen med fordel kan arbejde videre med at udvikle og omsætte børnesynet sammen med pædagogisk personale på skolen. </a:t>
            </a:r>
          </a:p>
          <a:p>
            <a:pPr lvl="1"/>
            <a:endParaRPr lang="da-DK" sz="1400" dirty="0">
              <a:latin typeface="Quicksand" panose="020B0604020202020204"/>
            </a:endParaRPr>
          </a:p>
          <a:p>
            <a:pPr lvl="1"/>
            <a:r>
              <a:rPr lang="da-DK" sz="1400" dirty="0">
                <a:latin typeface="Quicksand" panose="020B0604020202020204"/>
              </a:rPr>
              <a:t>Aftal sammen, hvordan og hvornår I vil </a:t>
            </a:r>
            <a:r>
              <a:rPr lang="da-DK" sz="1400" b="1" dirty="0">
                <a:latin typeface="Quicksand" panose="020B0604020202020204"/>
              </a:rPr>
              <a:t>følge</a:t>
            </a:r>
            <a:r>
              <a:rPr lang="da-DK" sz="1400" dirty="0">
                <a:latin typeface="Quicksand" panose="020B0604020202020204"/>
              </a:rPr>
              <a:t> </a:t>
            </a:r>
            <a:r>
              <a:rPr lang="da-DK" sz="1400" b="1" dirty="0">
                <a:latin typeface="Quicksand" panose="020B0604020202020204"/>
              </a:rPr>
              <a:t>op</a:t>
            </a:r>
            <a:r>
              <a:rPr lang="da-DK" sz="1400" dirty="0">
                <a:latin typeface="Quicksand" panose="020B0604020202020204"/>
              </a:rPr>
              <a:t> på jeres drøftelser.</a:t>
            </a:r>
          </a:p>
          <a:p>
            <a:pPr lvl="1"/>
            <a:endParaRPr lang="da-DK" sz="1400" dirty="0">
              <a:latin typeface="Quicksand" panose="020B0604020202020204"/>
            </a:endParaRPr>
          </a:p>
          <a:p>
            <a:pPr lvl="1"/>
            <a:r>
              <a:rPr lang="da-DK" sz="1400" dirty="0">
                <a:latin typeface="Quicksand" panose="020B0604020202020204"/>
              </a:rPr>
              <a:t>På næste side fremgår eksempel på, hvordan ledelsen kan arbejde med at </a:t>
            </a:r>
            <a:r>
              <a:rPr lang="da-DK" sz="1400" b="1" dirty="0">
                <a:latin typeface="Quicksand" panose="020B0604020202020204"/>
              </a:rPr>
              <a:t>omsætte</a:t>
            </a:r>
            <a:r>
              <a:rPr lang="da-DK" sz="1400" dirty="0">
                <a:latin typeface="Quicksand" panose="020B0604020202020204"/>
              </a:rPr>
              <a:t> </a:t>
            </a:r>
            <a:r>
              <a:rPr lang="da-DK" sz="1400" b="1" dirty="0">
                <a:latin typeface="Quicksand" panose="020B0604020202020204"/>
              </a:rPr>
              <a:t>børnesynet</a:t>
            </a:r>
            <a:r>
              <a:rPr lang="da-DK" sz="1400" dirty="0">
                <a:latin typeface="Quicksand" panose="020B0604020202020204"/>
              </a:rPr>
              <a:t> på skolen. </a:t>
            </a:r>
            <a:br>
              <a:rPr lang="da-DK" sz="1400" dirty="0">
                <a:latin typeface="Quicksand" panose="020B0604020202020204"/>
                <a:ea typeface="Quicksand" panose="020B0604020202020204"/>
                <a:cs typeface="Quicksand" panose="020B0604020202020204" charset="0"/>
                <a:sym typeface="Quicksand"/>
              </a:rPr>
            </a:br>
            <a:endParaRPr lang="da-DK" sz="1500" dirty="0">
              <a:latin typeface="Quicksand" panose="020B0604020202020204" charset="0"/>
              <a:ea typeface="Quicksand"/>
              <a:cs typeface="Quicksand" panose="020B0604020202020204" charset="0"/>
              <a:sym typeface="Quicksand"/>
            </a:endParaRPr>
          </a:p>
          <a:p>
            <a:pPr lvl="1"/>
            <a:endParaRPr lang="da-DK" sz="1500" dirty="0">
              <a:latin typeface="Quicksand" panose="020B0604020202020204" charset="0"/>
              <a:ea typeface="Quicksand"/>
              <a:cs typeface="Quicksand" panose="020B0604020202020204" charset="0"/>
              <a:sym typeface="Quicksand"/>
            </a:endParaRPr>
          </a:p>
          <a:p>
            <a:pPr lvl="1"/>
            <a:endParaRPr lang="da-DK" sz="1500" dirty="0">
              <a:latin typeface="Quicksand" panose="020B0604020202020204" charset="0"/>
              <a:ea typeface="Quicksand"/>
              <a:cs typeface="Quicksand" panose="020B0604020202020204" charset="0"/>
              <a:sym typeface="Quicksand"/>
            </a:endParaRPr>
          </a:p>
          <a:p>
            <a:endParaRPr lang="da-DK" sz="1600" dirty="0">
              <a:latin typeface="Quicksand" panose="020B0604020202020204" charset="0"/>
              <a:ea typeface="Quicksand"/>
              <a:cs typeface="Quicksand" panose="020B0604020202020204" charset="0"/>
              <a:sym typeface="Quicksand"/>
            </a:endParaRPr>
          </a:p>
          <a:p>
            <a:pPr lvl="0" algn="l">
              <a:lnSpc>
                <a:spcPct val="150000"/>
              </a:lnSpc>
              <a:spcBef>
                <a:spcPts val="0"/>
              </a:spcBef>
              <a:spcAft>
                <a:spcPts val="0"/>
              </a:spcAft>
            </a:pPr>
            <a:endParaRPr lang="da-DK" sz="1600" dirty="0">
              <a:latin typeface="Quicksand"/>
              <a:ea typeface="Quicksand"/>
              <a:cs typeface="Quicksand"/>
              <a:sym typeface="Quicksand"/>
            </a:endParaRPr>
          </a:p>
          <a:p>
            <a:pPr lvl="0" algn="l">
              <a:lnSpc>
                <a:spcPct val="150000"/>
              </a:lnSpc>
              <a:spcBef>
                <a:spcPts val="0"/>
              </a:spcBef>
              <a:spcAft>
                <a:spcPts val="0"/>
              </a:spcAft>
            </a:pPr>
            <a:endParaRPr lang="da-DK" dirty="0">
              <a:latin typeface="Quicksand"/>
              <a:ea typeface="Quicksand"/>
              <a:cs typeface="Quicksand"/>
              <a:sym typeface="Quicksand"/>
            </a:endParaRPr>
          </a:p>
        </p:txBody>
      </p:sp>
      <p:sp>
        <p:nvSpPr>
          <p:cNvPr id="12" name="Oval 11">
            <a:extLst>
              <a:ext uri="{FF2B5EF4-FFF2-40B4-BE49-F238E27FC236}">
                <a16:creationId xmlns:a16="http://schemas.microsoft.com/office/drawing/2014/main" id="{323C242C-0FC5-9F5E-2C8D-1924D1D55E4B}"/>
              </a:ext>
            </a:extLst>
          </p:cNvPr>
          <p:cNvSpPr/>
          <p:nvPr/>
        </p:nvSpPr>
        <p:spPr>
          <a:xfrm>
            <a:off x="901242" y="1993517"/>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13" name="Oval 12">
            <a:extLst>
              <a:ext uri="{FF2B5EF4-FFF2-40B4-BE49-F238E27FC236}">
                <a16:creationId xmlns:a16="http://schemas.microsoft.com/office/drawing/2014/main" id="{145D81BE-66B4-DB6E-737C-192DBFE5CC49}"/>
              </a:ext>
            </a:extLst>
          </p:cNvPr>
          <p:cNvSpPr/>
          <p:nvPr/>
        </p:nvSpPr>
        <p:spPr>
          <a:xfrm>
            <a:off x="901242" y="4457340"/>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15" name="Oval 14">
            <a:extLst>
              <a:ext uri="{FF2B5EF4-FFF2-40B4-BE49-F238E27FC236}">
                <a16:creationId xmlns:a16="http://schemas.microsoft.com/office/drawing/2014/main" id="{D747DB3D-7328-5E6E-2FB1-4994E88E06CE}"/>
              </a:ext>
            </a:extLst>
          </p:cNvPr>
          <p:cNvSpPr/>
          <p:nvPr/>
        </p:nvSpPr>
        <p:spPr>
          <a:xfrm>
            <a:off x="901242" y="5293379"/>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3</a:t>
            </a:r>
            <a:endParaRPr lang="da-DK" sz="2000" noProof="0" dirty="0">
              <a:latin typeface="Quicksand" panose="020B0604020202020204" charset="0"/>
              <a:cs typeface="Quicksand" panose="020B0604020202020204" charset="0"/>
            </a:endParaRPr>
          </a:p>
        </p:txBody>
      </p:sp>
      <p:sp>
        <p:nvSpPr>
          <p:cNvPr id="2" name="Google Shape;843;p29">
            <a:extLst>
              <a:ext uri="{FF2B5EF4-FFF2-40B4-BE49-F238E27FC236}">
                <a16:creationId xmlns:a16="http://schemas.microsoft.com/office/drawing/2014/main" id="{46F48CA1-EDA1-0927-5EF2-EE0C2D264D4E}"/>
              </a:ext>
            </a:extLst>
          </p:cNvPr>
          <p:cNvSpPr/>
          <p:nvPr/>
        </p:nvSpPr>
        <p:spPr>
          <a:xfrm>
            <a:off x="0" y="347492"/>
            <a:ext cx="12191999" cy="856994"/>
          </a:xfrm>
          <a:prstGeom prst="rect">
            <a:avLst/>
          </a:prstGeom>
          <a:solidFill>
            <a:schemeClr val="accent3"/>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4000" b="1">
                <a:solidFill>
                  <a:schemeClr val="bg1"/>
                </a:solidFill>
                <a:latin typeface="Amatic SC"/>
                <a:ea typeface="Amatic SC"/>
                <a:cs typeface="Amatic SC"/>
                <a:sym typeface="Amatic SC"/>
              </a:rPr>
              <a:t>Omsæt det lokale børnesyn i praksis </a:t>
            </a:r>
          </a:p>
        </p:txBody>
      </p:sp>
      <p:sp>
        <p:nvSpPr>
          <p:cNvPr id="16" name="Rectangle 15">
            <a:extLst>
              <a:ext uri="{FF2B5EF4-FFF2-40B4-BE49-F238E27FC236}">
                <a16:creationId xmlns:a16="http://schemas.microsoft.com/office/drawing/2014/main" id="{10E788DD-D15D-4E8A-10BB-E91140BC1091}"/>
              </a:ext>
            </a:extLst>
          </p:cNvPr>
          <p:cNvSpPr/>
          <p:nvPr/>
        </p:nvSpPr>
        <p:spPr>
          <a:xfrm>
            <a:off x="7602280" y="2241447"/>
            <a:ext cx="4039114" cy="331786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17" name="TextBox 16">
            <a:extLst>
              <a:ext uri="{FF2B5EF4-FFF2-40B4-BE49-F238E27FC236}">
                <a16:creationId xmlns:a16="http://schemas.microsoft.com/office/drawing/2014/main" id="{F33EB3E7-24B1-8353-2D42-03D8396A4EC5}"/>
              </a:ext>
            </a:extLst>
          </p:cNvPr>
          <p:cNvSpPr txBox="1"/>
          <p:nvPr/>
        </p:nvSpPr>
        <p:spPr>
          <a:xfrm>
            <a:off x="7602280" y="1660394"/>
            <a:ext cx="4039114" cy="666246"/>
          </a:xfrm>
          <a:prstGeom prst="rect">
            <a:avLst/>
          </a:prstGeom>
          <a:solidFill>
            <a:schemeClr val="accent3"/>
          </a:solidFill>
          <a:ln w="28575">
            <a:solidFill>
              <a:schemeClr val="accent3"/>
            </a:solidFill>
          </a:ln>
        </p:spPr>
        <p:txBody>
          <a:bodyPr wrap="square" lIns="0" tIns="0" rIns="0" bIns="0" rtlCol="0" anchor="ctr">
            <a:noAutofit/>
          </a:bodyPr>
          <a:lstStyle/>
          <a:p>
            <a:pPr algn="ctr"/>
            <a:r>
              <a:rPr lang="da-DK" sz="1500" b="1">
                <a:solidFill>
                  <a:schemeClr val="bg1"/>
                </a:solidFill>
                <a:latin typeface="Quicksand" panose="020B0604020202020204"/>
                <a:cs typeface="Amatic SC" panose="00000500000000000000" pitchFamily="2" charset="-79"/>
              </a:rPr>
              <a:t>Inddrag lokale skolerapporter </a:t>
            </a:r>
            <a:br>
              <a:rPr lang="da-DK" sz="1500" b="1">
                <a:solidFill>
                  <a:schemeClr val="bg1"/>
                </a:solidFill>
                <a:latin typeface="Quicksand" panose="020B0604020202020204"/>
                <a:cs typeface="Amatic SC" panose="00000500000000000000" pitchFamily="2" charset="-79"/>
              </a:rPr>
            </a:br>
            <a:r>
              <a:rPr lang="da-DK" sz="1500" b="1">
                <a:solidFill>
                  <a:schemeClr val="bg1"/>
                </a:solidFill>
                <a:latin typeface="Quicksand" panose="020B0604020202020204"/>
                <a:cs typeface="Amatic SC" panose="00000500000000000000" pitchFamily="2" charset="-79"/>
              </a:rPr>
              <a:t>i skoleudviklingssamtalen</a:t>
            </a:r>
          </a:p>
        </p:txBody>
      </p:sp>
      <p:sp>
        <p:nvSpPr>
          <p:cNvPr id="21" name="TextBox 20">
            <a:extLst>
              <a:ext uri="{FF2B5EF4-FFF2-40B4-BE49-F238E27FC236}">
                <a16:creationId xmlns:a16="http://schemas.microsoft.com/office/drawing/2014/main" id="{360B731A-C09F-6495-118E-F0AEEFDAFF86}"/>
              </a:ext>
            </a:extLst>
          </p:cNvPr>
          <p:cNvSpPr txBox="1"/>
          <p:nvPr/>
        </p:nvSpPr>
        <p:spPr>
          <a:xfrm>
            <a:off x="7708604" y="2471212"/>
            <a:ext cx="3854131" cy="2970044"/>
          </a:xfrm>
          <a:prstGeom prst="rect">
            <a:avLst/>
          </a:prstGeom>
          <a:noFill/>
        </p:spPr>
        <p:txBody>
          <a:bodyPr wrap="square">
            <a:spAutoFit/>
          </a:bodyPr>
          <a:lstStyle/>
          <a:p>
            <a:r>
              <a:rPr lang="da-DK" sz="1400" dirty="0">
                <a:latin typeface="Quicksand" panose="020B0604020202020204" charset="0"/>
                <a:ea typeface="Quicksand"/>
                <a:cs typeface="Quicksand" panose="020B0604020202020204" charset="0"/>
                <a:sym typeface="Quicksand"/>
              </a:rPr>
              <a:t>Under temaet </a:t>
            </a:r>
            <a:r>
              <a:rPr lang="da-DK" sz="1400" b="1" dirty="0">
                <a:latin typeface="Quicksand" panose="020B0604020202020204" charset="0"/>
                <a:ea typeface="Quicksand"/>
                <a:cs typeface="Quicksand" panose="020B0604020202020204" charset="0"/>
                <a:sym typeface="Quicksand"/>
              </a:rPr>
              <a:t>Teamets samarbejde som PLF </a:t>
            </a:r>
            <a:r>
              <a:rPr lang="da-DK" sz="1400" dirty="0">
                <a:latin typeface="Quicksand" panose="020B0604020202020204" charset="0"/>
                <a:ea typeface="Quicksand"/>
                <a:cs typeface="Quicksand" panose="020B0604020202020204" charset="0"/>
                <a:sym typeface="Quicksand"/>
              </a:rPr>
              <a:t>(på side 7 i skolerapporten) finder I spørgsmålet: </a:t>
            </a:r>
          </a:p>
          <a:p>
            <a:r>
              <a:rPr lang="da-DK" sz="1400" i="1" dirty="0">
                <a:latin typeface="Quicksand" panose="020B0604020202020204" charset="0"/>
                <a:ea typeface="Quicksand"/>
                <a:cs typeface="Quicksand" panose="020B0604020202020204" charset="0"/>
                <a:sym typeface="Quicksand"/>
              </a:rPr>
              <a:t>”Hvor enig eller uenig er du i følgende udsagn… På min skole har vi et fælles børnesyn”. </a:t>
            </a:r>
            <a:br>
              <a:rPr lang="da-DK" sz="1400" b="1" dirty="0">
                <a:latin typeface="Quicksand" panose="020B0604020202020204" charset="0"/>
                <a:ea typeface="Quicksand"/>
                <a:cs typeface="Quicksand" panose="020B0604020202020204" charset="0"/>
                <a:sym typeface="Quicksand"/>
              </a:rPr>
            </a:br>
            <a:endParaRPr lang="da-DK" sz="1400" dirty="0">
              <a:latin typeface="Quicksand" panose="020B0604020202020204" charset="0"/>
              <a:ea typeface="Quicksand"/>
              <a:cs typeface="Quicksand" panose="020B0604020202020204" charset="0"/>
              <a:sym typeface="Quicksand"/>
            </a:endParaRPr>
          </a:p>
          <a:p>
            <a:pPr>
              <a:spcAft>
                <a:spcPts val="600"/>
              </a:spcAft>
            </a:pPr>
            <a:r>
              <a:rPr lang="da-DK" sz="1400" dirty="0">
                <a:latin typeface="Quicksand" panose="020B0604020202020204" charset="0"/>
                <a:ea typeface="Quicksand"/>
                <a:cs typeface="Quicksand" panose="020B0604020202020204" charset="0"/>
                <a:sym typeface="Quicksand"/>
              </a:rPr>
              <a:t>Af skolerapporten fremgår det også:</a:t>
            </a:r>
          </a:p>
          <a:p>
            <a:pPr marL="225425" indent="-225425">
              <a:buFont typeface="+mj-lt"/>
              <a:buAutoNum type="arabicPeriod"/>
            </a:pPr>
            <a:r>
              <a:rPr lang="da-DK" sz="1400" dirty="0">
                <a:latin typeface="Quicksand" panose="020B0604020202020204" charset="0"/>
                <a:ea typeface="Quicksand"/>
                <a:cs typeface="Quicksand" panose="020B0604020202020204" charset="0"/>
                <a:sym typeface="Quicksand"/>
              </a:rPr>
              <a:t>Om skolens gennemsnit på disse spørgsmål er højere eller lavere end gennemsnittet blandt de øvrige skoler i kommunen. </a:t>
            </a:r>
            <a:br>
              <a:rPr lang="da-DK" sz="1400" dirty="0">
                <a:latin typeface="Quicksand" panose="020B0604020202020204" charset="0"/>
                <a:ea typeface="Quicksand"/>
                <a:cs typeface="Quicksand" panose="020B0604020202020204" charset="0"/>
                <a:sym typeface="Quicksand"/>
              </a:rPr>
            </a:br>
            <a:endParaRPr lang="da-DK" sz="1400" dirty="0">
              <a:latin typeface="Quicksand" panose="020B0604020202020204" charset="0"/>
              <a:ea typeface="Quicksand"/>
              <a:cs typeface="Quicksand" panose="020B0604020202020204" charset="0"/>
              <a:sym typeface="Quicksand"/>
            </a:endParaRPr>
          </a:p>
          <a:p>
            <a:pPr marL="225425" indent="-225425">
              <a:buFont typeface="+mj-lt"/>
              <a:buAutoNum type="arabicPeriod"/>
            </a:pPr>
            <a:r>
              <a:rPr lang="da-DK" sz="1400" dirty="0">
                <a:latin typeface="Quicksand" panose="020B0604020202020204" charset="0"/>
                <a:ea typeface="Quicksand"/>
                <a:cs typeface="Quicksand" panose="020B0604020202020204" charset="0"/>
                <a:sym typeface="Quicksand"/>
              </a:rPr>
              <a:t>Om der er sket en udvikling i pædagogisk personales oplevelse af børnesynet det </a:t>
            </a:r>
            <a:br>
              <a:rPr lang="da-DK" sz="1400" dirty="0">
                <a:latin typeface="Quicksand" panose="020B0604020202020204" charset="0"/>
                <a:ea typeface="Quicksand"/>
                <a:cs typeface="Quicksand" panose="020B0604020202020204" charset="0"/>
                <a:sym typeface="Quicksand"/>
              </a:rPr>
            </a:br>
            <a:r>
              <a:rPr lang="da-DK" sz="1400" dirty="0">
                <a:latin typeface="Quicksand" panose="020B0604020202020204" charset="0"/>
                <a:ea typeface="Quicksand"/>
                <a:cs typeface="Quicksand" panose="020B0604020202020204" charset="0"/>
                <a:sym typeface="Quicksand"/>
              </a:rPr>
              <a:t>seneste år. </a:t>
            </a:r>
            <a:endParaRPr lang="da-DK" sz="1400" dirty="0">
              <a:highlight>
                <a:srgbClr val="FFFF00"/>
              </a:highlight>
            </a:endParaRPr>
          </a:p>
        </p:txBody>
      </p:sp>
      <p:pic>
        <p:nvPicPr>
          <p:cNvPr id="26" name="Graphic 25" descr="Folder Search outline">
            <a:extLst>
              <a:ext uri="{FF2B5EF4-FFF2-40B4-BE49-F238E27FC236}">
                <a16:creationId xmlns:a16="http://schemas.microsoft.com/office/drawing/2014/main" id="{A0E30006-FCA8-E12E-D473-51F5D1CF599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08604" y="1723517"/>
            <a:ext cx="540000" cy="540000"/>
          </a:xfrm>
          <a:prstGeom prst="rect">
            <a:avLst/>
          </a:prstGeom>
        </p:spPr>
      </p:pic>
      <p:pic>
        <p:nvPicPr>
          <p:cNvPr id="3" name="Graphic 2" descr="Compass with solid fill">
            <a:extLst>
              <a:ext uri="{FF2B5EF4-FFF2-40B4-BE49-F238E27FC236}">
                <a16:creationId xmlns:a16="http://schemas.microsoft.com/office/drawing/2014/main" id="{72B8D182-9496-0165-B3A2-E07B4B96B2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40042" y="384308"/>
            <a:ext cx="783408" cy="783408"/>
          </a:xfrm>
          <a:prstGeom prst="rect">
            <a:avLst/>
          </a:prstGeom>
        </p:spPr>
      </p:pic>
      <p:sp>
        <p:nvSpPr>
          <p:cNvPr id="11" name="Oval 10">
            <a:extLst>
              <a:ext uri="{FF2B5EF4-FFF2-40B4-BE49-F238E27FC236}">
                <a16:creationId xmlns:a16="http://schemas.microsoft.com/office/drawing/2014/main" id="{652F2CC7-460F-30DE-1BC0-9E6BEC981F8C}"/>
              </a:ext>
            </a:extLst>
          </p:cNvPr>
          <p:cNvSpPr/>
          <p:nvPr/>
        </p:nvSpPr>
        <p:spPr>
          <a:xfrm>
            <a:off x="901242" y="5763919"/>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dirty="0">
                <a:latin typeface="Quicksand" panose="020B0604020202020204" charset="0"/>
                <a:cs typeface="Quicksand" panose="020B0604020202020204" charset="0"/>
              </a:rPr>
              <a:t>4</a:t>
            </a:r>
            <a:endParaRPr lang="da-DK" sz="2000" noProof="0" dirty="0">
              <a:latin typeface="Quicksand" panose="020B0604020202020204" charset="0"/>
              <a:cs typeface="Quicksand" panose="020B0604020202020204" charset="0"/>
            </a:endParaRPr>
          </a:p>
        </p:txBody>
      </p:sp>
    </p:spTree>
    <p:extLst>
      <p:ext uri="{BB962C8B-B14F-4D97-AF65-F5344CB8AC3E}">
        <p14:creationId xmlns:p14="http://schemas.microsoft.com/office/powerpoint/2010/main" val="3201519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6</a:t>
            </a:fld>
            <a:endParaRPr lang="da-DK"/>
          </a:p>
        </p:txBody>
      </p:sp>
      <p:sp>
        <p:nvSpPr>
          <p:cNvPr id="2" name="Google Shape;843;p29">
            <a:extLst>
              <a:ext uri="{FF2B5EF4-FFF2-40B4-BE49-F238E27FC236}">
                <a16:creationId xmlns:a16="http://schemas.microsoft.com/office/drawing/2014/main" id="{0524E856-2585-CE80-CD30-A2732846480B}"/>
              </a:ext>
            </a:extLst>
          </p:cNvPr>
          <p:cNvSpPr/>
          <p:nvPr/>
        </p:nvSpPr>
        <p:spPr>
          <a:xfrm>
            <a:off x="0" y="347492"/>
            <a:ext cx="12191999" cy="856994"/>
          </a:xfrm>
          <a:prstGeom prst="rect">
            <a:avLst/>
          </a:prstGeom>
          <a:solidFill>
            <a:schemeClr val="accent3"/>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4000" b="1">
                <a:solidFill>
                  <a:schemeClr val="bg1"/>
                </a:solidFill>
                <a:latin typeface="Amatic SC"/>
                <a:ea typeface="Amatic SC"/>
                <a:cs typeface="Amatic SC"/>
                <a:sym typeface="Amatic SC"/>
              </a:rPr>
              <a:t>Omsæt det lokale børnesyn i praksis </a:t>
            </a:r>
          </a:p>
        </p:txBody>
      </p:sp>
      <p:sp>
        <p:nvSpPr>
          <p:cNvPr id="21" name="TextBox 20">
            <a:extLst>
              <a:ext uri="{FF2B5EF4-FFF2-40B4-BE49-F238E27FC236}">
                <a16:creationId xmlns:a16="http://schemas.microsoft.com/office/drawing/2014/main" id="{39B6D923-4774-F051-0402-6F5501CAB4AA}"/>
              </a:ext>
            </a:extLst>
          </p:cNvPr>
          <p:cNvSpPr txBox="1"/>
          <p:nvPr/>
        </p:nvSpPr>
        <p:spPr>
          <a:xfrm>
            <a:off x="1420739" y="1948214"/>
            <a:ext cx="8831805" cy="3772828"/>
          </a:xfrm>
          <a:prstGeom prst="rect">
            <a:avLst/>
          </a:prstGeom>
          <a:noFill/>
        </p:spPr>
        <p:txBody>
          <a:bodyPr wrap="square" lIns="0" tIns="0" rIns="0" bIns="0">
            <a:spAutoFit/>
          </a:bodyPr>
          <a:lstStyle/>
          <a:p>
            <a:r>
              <a:rPr lang="da-DK" sz="1400" dirty="0">
                <a:latin typeface="Quicksand" panose="020B0604020202020204"/>
                <a:ea typeface="Quicksand" panose="020B0604020202020204"/>
                <a:cs typeface="Quicksand" panose="020B0604020202020204" charset="0"/>
                <a:sym typeface="Quicksand"/>
              </a:rPr>
              <a:t>Ledelsen og pædagogisk personale kan arbejde med at omsætte det lokale børnesyn i praksis ved på personalemøder at arbejde med følgende tre trin: </a:t>
            </a:r>
            <a:br>
              <a:rPr lang="da-DK" sz="1400" dirty="0">
                <a:latin typeface="Quicksand" panose="020B0604020202020204"/>
                <a:ea typeface="Quicksand" panose="020B0604020202020204"/>
                <a:cs typeface="Quicksand" panose="020B0604020202020204" charset="0"/>
                <a:sym typeface="Quicksand"/>
              </a:rPr>
            </a:br>
            <a:endParaRPr lang="da-DK" sz="1400" dirty="0">
              <a:latin typeface="Quicksand" panose="020B0604020202020204"/>
              <a:ea typeface="Quicksand" panose="020B0604020202020204"/>
              <a:cs typeface="Quicksand" panose="020B0604020202020204" charset="0"/>
              <a:sym typeface="Quicksand"/>
            </a:endParaRPr>
          </a:p>
          <a:p>
            <a:r>
              <a:rPr lang="da-DK" sz="1400" b="1" dirty="0">
                <a:latin typeface="Quicksand" panose="020B0604020202020204"/>
                <a:ea typeface="Quicksand" panose="020B0604020202020204"/>
                <a:cs typeface="Quicksand" panose="020B0604020202020204" charset="0"/>
                <a:sym typeface="Quicksand"/>
              </a:rPr>
              <a:t>Gennemgå skolens/kommunens fælles børnesyn i plenum</a:t>
            </a:r>
            <a:br>
              <a:rPr lang="da-DK" sz="1400" b="1" dirty="0">
                <a:latin typeface="Quicksand" panose="020B0604020202020204"/>
                <a:ea typeface="Quicksand" panose="020B0604020202020204"/>
                <a:cs typeface="Quicksand" panose="020B0604020202020204" charset="0"/>
                <a:sym typeface="Quicksand"/>
              </a:rPr>
            </a:br>
            <a:endParaRPr lang="da-DK" sz="1400" dirty="0">
              <a:latin typeface="Quicksand" panose="020B0604020202020204"/>
              <a:ea typeface="Quicksand" panose="020B0604020202020204"/>
              <a:cs typeface="Quicksand" panose="020B0604020202020204" charset="0"/>
              <a:sym typeface="Quicksand"/>
            </a:endParaRPr>
          </a:p>
          <a:p>
            <a:pPr>
              <a:spcAft>
                <a:spcPts val="300"/>
              </a:spcAft>
            </a:pPr>
            <a:r>
              <a:rPr lang="da-DK" sz="1400" b="1" dirty="0">
                <a:effectLst/>
                <a:latin typeface="Quicksand" panose="020B0604020202020204"/>
                <a:ea typeface="Calibri" panose="020F0502020204030204" pitchFamily="34" charset="0"/>
                <a:cs typeface="Arial" panose="020B0604020202020204" pitchFamily="34" charset="0"/>
              </a:rPr>
              <a:t>Opdel pædagogisk personale i mindre grupper: </a:t>
            </a:r>
            <a:r>
              <a:rPr lang="da-DK" sz="1400" dirty="0">
                <a:effectLst/>
                <a:latin typeface="Quicksand" panose="020B0604020202020204"/>
                <a:ea typeface="Calibri" panose="020F0502020204030204" pitchFamily="34" charset="0"/>
                <a:cs typeface="Arial" panose="020B0604020202020204" pitchFamily="34" charset="0"/>
              </a:rPr>
              <a:t>Herfra skiftes de til at beskrive en situation, hvor de har været udfordret i at møde et barn eller en børnegruppe, som beskrevet i skolens/kommunens børnesyn. </a:t>
            </a:r>
            <a:br>
              <a:rPr lang="da-DK" sz="1400" dirty="0">
                <a:effectLst/>
                <a:latin typeface="Quicksand" panose="020B0604020202020204"/>
                <a:ea typeface="Calibri" panose="020F0502020204030204" pitchFamily="34" charset="0"/>
                <a:cs typeface="Arial" panose="020B0604020202020204" pitchFamily="34" charset="0"/>
              </a:rPr>
            </a:br>
            <a:br>
              <a:rPr lang="da-DK" sz="1400" dirty="0">
                <a:effectLst/>
                <a:latin typeface="Quicksand" panose="020B0604020202020204"/>
                <a:ea typeface="Calibri" panose="020F0502020204030204" pitchFamily="34" charset="0"/>
                <a:cs typeface="Arial" panose="020B0604020202020204" pitchFamily="34" charset="0"/>
              </a:rPr>
            </a:br>
            <a:r>
              <a:rPr lang="da-DK" sz="1400" dirty="0">
                <a:effectLst/>
                <a:latin typeface="Quicksand" panose="020B0604020202020204"/>
                <a:ea typeface="Calibri" panose="020F0502020204030204" pitchFamily="34" charset="0"/>
                <a:cs typeface="Arial" panose="020B0604020202020204" pitchFamily="34" charset="0"/>
              </a:rPr>
              <a:t>Grupperne drøfter herefter: </a:t>
            </a:r>
            <a:endParaRPr lang="da-DK" sz="1400" dirty="0">
              <a:latin typeface="Quicksand" panose="020B0604020202020204"/>
              <a:ea typeface="Calibri" panose="020F0502020204030204" pitchFamily="34" charset="0"/>
              <a:cs typeface="Arial" panose="020B0604020202020204" pitchFamily="34" charset="0"/>
            </a:endParaRPr>
          </a:p>
          <a:p>
            <a:pPr marL="403225" lvl="1" indent="-177800">
              <a:spcAft>
                <a:spcPts val="800"/>
              </a:spcAft>
              <a:buFont typeface="+mj-lt"/>
              <a:buAutoNum type="alphaLcPeriod"/>
            </a:pPr>
            <a:r>
              <a:rPr lang="da-DK" sz="1400" dirty="0">
                <a:effectLst/>
                <a:latin typeface="Quicksand" panose="020B0604020202020204"/>
                <a:ea typeface="Calibri" panose="020F0502020204030204" pitchFamily="34" charset="0"/>
                <a:cs typeface="Arial" panose="020B0604020202020204" pitchFamily="34" charset="0"/>
              </a:rPr>
              <a:t>Hvad gjorde situationen svær?</a:t>
            </a:r>
          </a:p>
          <a:p>
            <a:pPr marL="403225" lvl="1" indent="-177800">
              <a:spcAft>
                <a:spcPts val="800"/>
              </a:spcAft>
              <a:buFont typeface="+mj-lt"/>
              <a:buAutoNum type="alphaLcPeriod"/>
            </a:pPr>
            <a:r>
              <a:rPr lang="da-DK" sz="1400" dirty="0">
                <a:effectLst/>
                <a:latin typeface="Quicksand" panose="020B0604020202020204"/>
                <a:ea typeface="Calibri" panose="020F0502020204030204" pitchFamily="34" charset="0"/>
                <a:cs typeface="Arial" panose="020B0604020202020204" pitchFamily="34" charset="0"/>
              </a:rPr>
              <a:t>Hvordan kan vi forstå situationen og blive klogere på den positive hensigt bag en uhensigtsmæssig adfærd? </a:t>
            </a:r>
          </a:p>
          <a:p>
            <a:pPr marL="403225" lvl="1" indent="-177800">
              <a:spcAft>
                <a:spcPts val="800"/>
              </a:spcAft>
              <a:buFont typeface="+mj-lt"/>
              <a:buAutoNum type="alphaLcPeriod"/>
            </a:pPr>
            <a:r>
              <a:rPr lang="da-DK" sz="1400" dirty="0">
                <a:effectLst/>
                <a:latin typeface="Quicksand" panose="020B0604020202020204"/>
                <a:ea typeface="Calibri" panose="020F0502020204030204" pitchFamily="34" charset="0"/>
                <a:cs typeface="Arial" panose="020B0604020202020204" pitchFamily="34" charset="0"/>
              </a:rPr>
              <a:t>Hvad er det, barnet </a:t>
            </a:r>
            <a:r>
              <a:rPr lang="da-DK" sz="1400" dirty="0">
                <a:latin typeface="Quicksand" panose="020B0604020202020204"/>
                <a:ea typeface="Calibri" panose="020F0502020204030204" pitchFamily="34" charset="0"/>
                <a:cs typeface="Arial" panose="020B0604020202020204" pitchFamily="34" charset="0"/>
              </a:rPr>
              <a:t>prøver at fortælle os? Hvad inviterer barnet os til at få øje på?</a:t>
            </a:r>
            <a:endParaRPr lang="da-DK" sz="1400" dirty="0">
              <a:effectLst/>
              <a:latin typeface="Quicksand" panose="020B0604020202020204"/>
              <a:ea typeface="Calibri" panose="020F0502020204030204" pitchFamily="34" charset="0"/>
              <a:cs typeface="Arial" panose="020B0604020202020204" pitchFamily="34" charset="0"/>
            </a:endParaRPr>
          </a:p>
          <a:p>
            <a:pPr marL="403225" lvl="1" indent="-177800">
              <a:spcAft>
                <a:spcPts val="800"/>
              </a:spcAft>
              <a:buFont typeface="+mj-lt"/>
              <a:buAutoNum type="alphaLcPeriod"/>
            </a:pPr>
            <a:r>
              <a:rPr lang="da-DK" sz="1400" dirty="0">
                <a:effectLst/>
                <a:latin typeface="Quicksand" panose="020B0604020202020204"/>
                <a:ea typeface="Calibri" panose="020F0502020204030204" pitchFamily="34" charset="0"/>
                <a:cs typeface="Arial" panose="020B0604020202020204" pitchFamily="34" charset="0"/>
              </a:rPr>
              <a:t>Omskriv i fællesskab den konkrete situation. </a:t>
            </a:r>
            <a:br>
              <a:rPr lang="da-DK" sz="1400" dirty="0">
                <a:effectLst/>
                <a:latin typeface="Quicksand" panose="020B0604020202020204"/>
                <a:ea typeface="Calibri" panose="020F0502020204030204" pitchFamily="34" charset="0"/>
                <a:cs typeface="Arial" panose="020B0604020202020204" pitchFamily="34" charset="0"/>
              </a:rPr>
            </a:br>
            <a:endParaRPr lang="da-DK" sz="1400" dirty="0">
              <a:latin typeface="Quicksand" panose="020B0604020202020204"/>
              <a:ea typeface="Quicksand" panose="020B0604020202020204"/>
              <a:cs typeface="Quicksand" panose="020B0604020202020204" charset="0"/>
              <a:sym typeface="Quicksand"/>
            </a:endParaRPr>
          </a:p>
          <a:p>
            <a:r>
              <a:rPr lang="da-DK" sz="1400" b="1" kern="0" dirty="0">
                <a:effectLst/>
                <a:latin typeface="Quicksand" panose="020B0604020202020204"/>
                <a:ea typeface="Calibri" panose="020F0502020204030204" pitchFamily="34" charset="0"/>
                <a:cs typeface="Arial" panose="020B0604020202020204" pitchFamily="34" charset="0"/>
              </a:rPr>
              <a:t>Præsenter og drøft situationen i plenum</a:t>
            </a:r>
            <a:endParaRPr lang="da-DK" sz="1400" b="1" dirty="0">
              <a:latin typeface="Quicksand" panose="020B0604020202020204" charset="0"/>
              <a:sym typeface="Quicksand"/>
            </a:endParaRPr>
          </a:p>
        </p:txBody>
      </p:sp>
      <p:pic>
        <p:nvPicPr>
          <p:cNvPr id="30" name="Graphic 29" descr="Single gear outline">
            <a:extLst>
              <a:ext uri="{FF2B5EF4-FFF2-40B4-BE49-F238E27FC236}">
                <a16:creationId xmlns:a16="http://schemas.microsoft.com/office/drawing/2014/main" id="{EED5AF45-DDB4-3E2E-98F1-E6ACA8E2818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4042" y="1456778"/>
            <a:ext cx="540000" cy="540000"/>
          </a:xfrm>
          <a:prstGeom prst="rect">
            <a:avLst/>
          </a:prstGeom>
        </p:spPr>
      </p:pic>
      <p:pic>
        <p:nvPicPr>
          <p:cNvPr id="6" name="Graphic 5" descr="Compass with solid fill">
            <a:extLst>
              <a:ext uri="{FF2B5EF4-FFF2-40B4-BE49-F238E27FC236}">
                <a16:creationId xmlns:a16="http://schemas.microsoft.com/office/drawing/2014/main" id="{480F0D16-CB55-3584-FC76-109E25F94BC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40042" y="384308"/>
            <a:ext cx="783408" cy="783408"/>
          </a:xfrm>
          <a:prstGeom prst="rect">
            <a:avLst/>
          </a:prstGeom>
        </p:spPr>
      </p:pic>
      <p:sp>
        <p:nvSpPr>
          <p:cNvPr id="8" name="TextBox 7">
            <a:extLst>
              <a:ext uri="{FF2B5EF4-FFF2-40B4-BE49-F238E27FC236}">
                <a16:creationId xmlns:a16="http://schemas.microsoft.com/office/drawing/2014/main" id="{7B8FE8C6-EDF6-8A2A-05C8-FC792A28C20E}"/>
              </a:ext>
            </a:extLst>
          </p:cNvPr>
          <p:cNvSpPr txBox="1"/>
          <p:nvPr/>
        </p:nvSpPr>
        <p:spPr>
          <a:xfrm>
            <a:off x="1420738" y="1542112"/>
            <a:ext cx="6789106" cy="276999"/>
          </a:xfrm>
          <a:prstGeom prst="rect">
            <a:avLst/>
          </a:prstGeom>
          <a:noFill/>
        </p:spPr>
        <p:txBody>
          <a:bodyPr wrap="square" lIns="0" tIns="0" rIns="0" bIns="0">
            <a:spAutoFit/>
          </a:bodyPr>
          <a:lstStyle/>
          <a:p>
            <a:r>
              <a:rPr lang="da-DK" sz="1800" b="1">
                <a:latin typeface="Quicksand" panose="020B0604020202020204" charset="0"/>
                <a:ea typeface="Quicksand"/>
                <a:cs typeface="Quicksand" panose="020B0604020202020204" charset="0"/>
                <a:sym typeface="Quicksand"/>
              </a:rPr>
              <a:t>Greb til at omsætte det lokale børnesyn i praksis</a:t>
            </a:r>
            <a:r>
              <a:rPr lang="da-DK" sz="1800" b="1" dirty="0">
                <a:latin typeface="Quicksand" panose="020B0604020202020204" charset="0"/>
                <a:ea typeface="Quicksand"/>
                <a:cs typeface="Quicksand" panose="020B0604020202020204" charset="0"/>
                <a:sym typeface="Quicksand"/>
              </a:rPr>
              <a:t> på personalemøder</a:t>
            </a:r>
            <a:r>
              <a:rPr lang="da-DK" sz="1800" b="1">
                <a:latin typeface="Quicksand" panose="020B0604020202020204" charset="0"/>
                <a:ea typeface="Quicksand"/>
                <a:cs typeface="Quicksand" panose="020B0604020202020204" charset="0"/>
                <a:sym typeface="Quicksand"/>
              </a:rPr>
              <a:t>:</a:t>
            </a:r>
          </a:p>
        </p:txBody>
      </p:sp>
      <p:sp>
        <p:nvSpPr>
          <p:cNvPr id="3" name="Oval 11">
            <a:extLst>
              <a:ext uri="{FF2B5EF4-FFF2-40B4-BE49-F238E27FC236}">
                <a16:creationId xmlns:a16="http://schemas.microsoft.com/office/drawing/2014/main" id="{6E10684C-A9E5-2BD4-7C14-F076CD8D245C}"/>
              </a:ext>
            </a:extLst>
          </p:cNvPr>
          <p:cNvSpPr/>
          <p:nvPr/>
        </p:nvSpPr>
        <p:spPr>
          <a:xfrm>
            <a:off x="901242" y="2537969"/>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7" name="Oval 12">
            <a:extLst>
              <a:ext uri="{FF2B5EF4-FFF2-40B4-BE49-F238E27FC236}">
                <a16:creationId xmlns:a16="http://schemas.microsoft.com/office/drawing/2014/main" id="{3E653389-EDAE-3FB5-BA1D-F26BAF75AB12}"/>
              </a:ext>
            </a:extLst>
          </p:cNvPr>
          <p:cNvSpPr/>
          <p:nvPr/>
        </p:nvSpPr>
        <p:spPr>
          <a:xfrm>
            <a:off x="908266" y="3023621"/>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9" name="Oval 14">
            <a:extLst>
              <a:ext uri="{FF2B5EF4-FFF2-40B4-BE49-F238E27FC236}">
                <a16:creationId xmlns:a16="http://schemas.microsoft.com/office/drawing/2014/main" id="{2492F4E4-9B2F-10FE-07E8-ACB84C05D645}"/>
              </a:ext>
            </a:extLst>
          </p:cNvPr>
          <p:cNvSpPr/>
          <p:nvPr/>
        </p:nvSpPr>
        <p:spPr>
          <a:xfrm>
            <a:off x="942534" y="5325907"/>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3</a:t>
            </a:r>
            <a:endParaRPr lang="da-DK" sz="2000" noProof="0" dirty="0">
              <a:latin typeface="Quicksand" panose="020B0604020202020204" charset="0"/>
              <a:cs typeface="Quicksand" panose="020B0604020202020204" charset="0"/>
            </a:endParaRPr>
          </a:p>
        </p:txBody>
      </p:sp>
    </p:spTree>
    <p:extLst>
      <p:ext uri="{BB962C8B-B14F-4D97-AF65-F5344CB8AC3E}">
        <p14:creationId xmlns:p14="http://schemas.microsoft.com/office/powerpoint/2010/main" val="300609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7</a:t>
            </a:fld>
            <a:endParaRPr lang="da-DK"/>
          </a:p>
        </p:txBody>
      </p:sp>
      <p:sp>
        <p:nvSpPr>
          <p:cNvPr id="12" name="Google Shape;843;p29">
            <a:extLst>
              <a:ext uri="{FF2B5EF4-FFF2-40B4-BE49-F238E27FC236}">
                <a16:creationId xmlns:a16="http://schemas.microsoft.com/office/drawing/2014/main" id="{7863966F-5A3D-4358-A359-6A15BA528247}"/>
              </a:ext>
            </a:extLst>
          </p:cNvPr>
          <p:cNvSpPr/>
          <p:nvPr/>
        </p:nvSpPr>
        <p:spPr>
          <a:xfrm>
            <a:off x="0" y="347677"/>
            <a:ext cx="12192000" cy="856671"/>
          </a:xfrm>
          <a:prstGeom prst="rect">
            <a:avLst/>
          </a:prstGeom>
          <a:solidFill>
            <a:schemeClr val="accent6"/>
          </a:solidFill>
          <a:ln>
            <a:noFill/>
          </a:ln>
        </p:spPr>
        <p:txBody>
          <a:bodyPr spcFirstLastPara="1" wrap="square" lIns="91425" tIns="0" rIns="91425" bIns="0" anchor="ctr" anchorCtr="0">
            <a:noAutofit/>
          </a:bodyPr>
          <a:lstStyle/>
          <a:p>
            <a:pPr algn="ctr"/>
            <a:r>
              <a:rPr lang="da-DK" sz="4000" b="1">
                <a:solidFill>
                  <a:schemeClr val="bg1"/>
                </a:solidFill>
                <a:latin typeface="Amatic SC" panose="00000500000000000000" pitchFamily="2" charset="-79"/>
                <a:cs typeface="Amatic SC" panose="00000500000000000000" pitchFamily="2" charset="-79"/>
              </a:rPr>
              <a:t>del viden lokalt på skolen</a:t>
            </a:r>
          </a:p>
        </p:txBody>
      </p:sp>
      <p:sp>
        <p:nvSpPr>
          <p:cNvPr id="19" name="Google Shape;847;p29">
            <a:extLst>
              <a:ext uri="{FF2B5EF4-FFF2-40B4-BE49-F238E27FC236}">
                <a16:creationId xmlns:a16="http://schemas.microsoft.com/office/drawing/2014/main" id="{89EEED7B-925E-38A2-EC55-31DF4EB1256A}"/>
              </a:ext>
            </a:extLst>
          </p:cNvPr>
          <p:cNvSpPr txBox="1"/>
          <p:nvPr/>
        </p:nvSpPr>
        <p:spPr>
          <a:xfrm>
            <a:off x="901243" y="1682072"/>
            <a:ext cx="6827773" cy="3903662"/>
          </a:xfrm>
          <a:prstGeom prst="rect">
            <a:avLst/>
          </a:prstGeom>
          <a:noFill/>
          <a:ln>
            <a:noFill/>
          </a:ln>
        </p:spPr>
        <p:txBody>
          <a:bodyPr spcFirstLastPara="1" wrap="square" lIns="0" tIns="180000" rIns="0" bIns="0" anchor="t" anchorCtr="0">
            <a:noAutofit/>
          </a:bodyPr>
          <a:lstStyle/>
          <a:p>
            <a:r>
              <a:rPr lang="da-DK" sz="2200" b="1" dirty="0">
                <a:solidFill>
                  <a:srgbClr val="273F68"/>
                </a:solidFill>
                <a:latin typeface="Amatic SC"/>
                <a:cs typeface="Amatic SC"/>
                <a:sym typeface="Quicksand"/>
              </a:rPr>
              <a:t>Evalueringen viser, at: </a:t>
            </a:r>
          </a:p>
          <a:p>
            <a:endParaRPr lang="da-DK" sz="1500" dirty="0">
              <a:latin typeface="Quicksand" panose="020B0604020202020204" charset="0"/>
              <a:ea typeface="Quicksand"/>
              <a:cs typeface="Quicksand" panose="020B0604020202020204" charset="0"/>
              <a:sym typeface="Quicksand"/>
            </a:endParaRPr>
          </a:p>
          <a:p>
            <a:pPr lvl="1"/>
            <a:r>
              <a:rPr lang="da-DK" sz="1400" dirty="0">
                <a:latin typeface="Quicksand" panose="020B0604020202020204"/>
                <a:cs typeface="Amatic SC" panose="00000500000000000000" pitchFamily="2" charset="-79"/>
              </a:rPr>
              <a:t>Pædagogisk personale kun i nogen grad oplever at kunne </a:t>
            </a:r>
            <a:r>
              <a:rPr lang="da-DK" sz="1400" b="1" i="0" dirty="0">
                <a:effectLst/>
                <a:latin typeface="ui-sans-serif"/>
              </a:rPr>
              <a:t>dele viden om arbejdet med at skabe deltagelsesmuligheder for alle elever </a:t>
            </a:r>
            <a:r>
              <a:rPr lang="da-DK" sz="1400" b="0" i="0" dirty="0">
                <a:effectLst/>
                <a:latin typeface="Quicksand" panose="020B0604020202020204"/>
                <a:cs typeface="Amatic SC" panose="00000500000000000000" pitchFamily="2" charset="-79"/>
              </a:rPr>
              <a:t>(41 pct. er overvejende uenige).</a:t>
            </a:r>
            <a:endParaRPr lang="da-DK" sz="1400" b="0" i="0" dirty="0">
              <a:effectLst/>
              <a:latin typeface="ui-sans-serif"/>
            </a:endParaRPr>
          </a:p>
          <a:p>
            <a:pPr lvl="1"/>
            <a:endParaRPr lang="da-DK" sz="1400" dirty="0">
              <a:latin typeface="Quicksand" panose="020B0604020202020204" charset="0"/>
              <a:ea typeface="Quicksand"/>
              <a:cs typeface="Quicksand" panose="020B0604020202020204" charset="0"/>
              <a:sym typeface="Quicksand"/>
            </a:endParaRPr>
          </a:p>
          <a:p>
            <a:pPr lvl="1"/>
            <a:r>
              <a:rPr lang="da-DK" sz="1400" dirty="0">
                <a:latin typeface="Quicksand" panose="020B0604020202020204" charset="0"/>
                <a:ea typeface="Quicksand"/>
                <a:cs typeface="Quicksand" panose="020B0604020202020204" charset="0"/>
                <a:sym typeface="Quicksand"/>
              </a:rPr>
              <a:t>Der kan opstå usikkerhed og distance blandt pædagogisk personale, når de ikke har den samme </a:t>
            </a:r>
            <a:r>
              <a:rPr lang="da-DK" sz="1400" b="1" dirty="0">
                <a:latin typeface="Quicksand" panose="020B0604020202020204" charset="0"/>
                <a:ea typeface="Quicksand"/>
                <a:cs typeface="Quicksand" panose="020B0604020202020204" charset="0"/>
                <a:sym typeface="Quicksand"/>
              </a:rPr>
              <a:t>fælles viden fra kompetenceudvikling</a:t>
            </a:r>
            <a:r>
              <a:rPr lang="da-DK" sz="1400" dirty="0">
                <a:latin typeface="Quicksand" panose="020B0604020202020204" charset="0"/>
                <a:ea typeface="Quicksand"/>
                <a:cs typeface="Quicksand" panose="020B0604020202020204" charset="0"/>
                <a:sym typeface="Quicksand"/>
              </a:rPr>
              <a:t>. Fx oplever nogle medarbejdere at stå udenfor et </a:t>
            </a:r>
            <a:r>
              <a:rPr lang="da-DK" sz="1400" dirty="0" err="1">
                <a:latin typeface="Quicksand" panose="020B0604020202020204" charset="0"/>
                <a:ea typeface="Quicksand"/>
                <a:cs typeface="Quicksand" panose="020B0604020202020204" charset="0"/>
                <a:sym typeface="Quicksand"/>
              </a:rPr>
              <a:t>vidensfællesskab</a:t>
            </a:r>
            <a:r>
              <a:rPr lang="da-DK" sz="1400" dirty="0">
                <a:latin typeface="Quicksand" panose="020B0604020202020204" charset="0"/>
                <a:ea typeface="Quicksand"/>
                <a:cs typeface="Quicksand" panose="020B0604020202020204" charset="0"/>
                <a:sym typeface="Quicksand"/>
              </a:rPr>
              <a:t> og dermed føle sig observeret af kolleger, som efter kompetenceudviklingen ser situationer med nye øjne. Kolleger, som har fået ny viden, kan også opleve, at det er svært at bringe i spil, fordi de ikke ønsker at fremstå ‘belærende’.</a:t>
            </a:r>
            <a:br>
              <a:rPr lang="da-DK" sz="1400" dirty="0">
                <a:latin typeface="Quicksand" panose="020B0604020202020204" charset="0"/>
                <a:ea typeface="Quicksand"/>
                <a:cs typeface="Quicksand" panose="020B0604020202020204" charset="0"/>
                <a:sym typeface="Quicksand"/>
              </a:rPr>
            </a:br>
            <a:br>
              <a:rPr lang="da-DK" sz="1400" dirty="0">
                <a:latin typeface="Quicksand" panose="020B0604020202020204" charset="0"/>
                <a:ea typeface="Quicksand"/>
                <a:cs typeface="Quicksand" panose="020B0604020202020204" charset="0"/>
                <a:sym typeface="Quicksand"/>
              </a:rPr>
            </a:br>
            <a:r>
              <a:rPr lang="da-DK" sz="1400" dirty="0">
                <a:latin typeface="Quicksand" panose="020B0604020202020204" charset="0"/>
                <a:ea typeface="Quicksand"/>
                <a:cs typeface="Quicksand" panose="020B0604020202020204" charset="0"/>
                <a:sym typeface="Quicksand"/>
              </a:rPr>
              <a:t>Pædagogisk personale ser det som en stor fordel, at </a:t>
            </a:r>
            <a:r>
              <a:rPr lang="da-DK" sz="1400" b="1" dirty="0">
                <a:latin typeface="Quicksand" panose="020B0604020202020204" charset="0"/>
                <a:ea typeface="Quicksand"/>
                <a:cs typeface="Quicksand" panose="020B0604020202020204" charset="0"/>
                <a:sym typeface="Quicksand"/>
              </a:rPr>
              <a:t>hele skolen </a:t>
            </a:r>
            <a:r>
              <a:rPr lang="da-DK" sz="1400" dirty="0">
                <a:latin typeface="Quicksand" panose="020B0604020202020204" charset="0"/>
                <a:ea typeface="Quicksand"/>
                <a:cs typeface="Quicksand" panose="020B0604020202020204" charset="0"/>
                <a:sym typeface="Quicksand"/>
              </a:rPr>
              <a:t>har fælles viden fra kompetenceudvikling. Det skaber en fælles forståelse og referenceramme, hvilket bidrager til, at alle er mere motiverede for at arbejde på nye måder. Dog mangler flere skoler greb til, hvordan de kan dele viden lokalt.</a:t>
            </a:r>
          </a:p>
          <a:p>
            <a:pPr lvl="0" algn="l">
              <a:lnSpc>
                <a:spcPct val="150000"/>
              </a:lnSpc>
              <a:spcBef>
                <a:spcPts val="0"/>
              </a:spcBef>
              <a:spcAft>
                <a:spcPts val="0"/>
              </a:spcAft>
            </a:pPr>
            <a:endParaRPr lang="da-DK" sz="1600" dirty="0">
              <a:latin typeface="Quicksand"/>
              <a:ea typeface="Quicksand"/>
              <a:cs typeface="Quicksand"/>
              <a:sym typeface="Quicksand"/>
            </a:endParaRPr>
          </a:p>
          <a:p>
            <a:pPr lvl="0" algn="l">
              <a:lnSpc>
                <a:spcPct val="150000"/>
              </a:lnSpc>
              <a:spcBef>
                <a:spcPts val="0"/>
              </a:spcBef>
              <a:spcAft>
                <a:spcPts val="0"/>
              </a:spcAft>
            </a:pPr>
            <a:endParaRPr lang="da-DK" dirty="0">
              <a:latin typeface="Quicksand"/>
              <a:ea typeface="Quicksand"/>
              <a:cs typeface="Quicksand"/>
              <a:sym typeface="Quicksand"/>
            </a:endParaRPr>
          </a:p>
        </p:txBody>
      </p:sp>
      <p:sp>
        <p:nvSpPr>
          <p:cNvPr id="20" name="Oval 19">
            <a:extLst>
              <a:ext uri="{FF2B5EF4-FFF2-40B4-BE49-F238E27FC236}">
                <a16:creationId xmlns:a16="http://schemas.microsoft.com/office/drawing/2014/main" id="{7D0BF512-7342-B0AF-9836-9E30F6644CDD}"/>
              </a:ext>
            </a:extLst>
          </p:cNvPr>
          <p:cNvSpPr/>
          <p:nvPr/>
        </p:nvSpPr>
        <p:spPr>
          <a:xfrm>
            <a:off x="901242" y="2396269"/>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21" name="Oval 20">
            <a:extLst>
              <a:ext uri="{FF2B5EF4-FFF2-40B4-BE49-F238E27FC236}">
                <a16:creationId xmlns:a16="http://schemas.microsoft.com/office/drawing/2014/main" id="{1B5E66E0-0184-58EA-4223-75789BD75A00}"/>
              </a:ext>
            </a:extLst>
          </p:cNvPr>
          <p:cNvSpPr/>
          <p:nvPr/>
        </p:nvSpPr>
        <p:spPr>
          <a:xfrm>
            <a:off x="901242" y="3051695"/>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dirty="0">
                <a:latin typeface="Quicksand" panose="020B0604020202020204" charset="0"/>
                <a:cs typeface="Quicksand" panose="020B0604020202020204" charset="0"/>
              </a:rPr>
              <a:t>2</a:t>
            </a:r>
            <a:endParaRPr lang="da-DK" sz="2000" noProof="0" dirty="0">
              <a:latin typeface="Quicksand" panose="020B0604020202020204" charset="0"/>
              <a:cs typeface="Quicksand" panose="020B0604020202020204" charset="0"/>
            </a:endParaRPr>
          </a:p>
        </p:txBody>
      </p:sp>
      <p:sp>
        <p:nvSpPr>
          <p:cNvPr id="22" name="Oval 21">
            <a:extLst>
              <a:ext uri="{FF2B5EF4-FFF2-40B4-BE49-F238E27FC236}">
                <a16:creationId xmlns:a16="http://schemas.microsoft.com/office/drawing/2014/main" id="{2FB1A6F3-2440-55F0-767B-A5720CFC710F}"/>
              </a:ext>
            </a:extLst>
          </p:cNvPr>
          <p:cNvSpPr/>
          <p:nvPr/>
        </p:nvSpPr>
        <p:spPr>
          <a:xfrm>
            <a:off x="901242" y="4553230"/>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
        <p:nvSpPr>
          <p:cNvPr id="23" name="TextBox 22">
            <a:extLst>
              <a:ext uri="{FF2B5EF4-FFF2-40B4-BE49-F238E27FC236}">
                <a16:creationId xmlns:a16="http://schemas.microsoft.com/office/drawing/2014/main" id="{21C149FF-8948-CDA9-493A-F4BE65676FB7}"/>
              </a:ext>
            </a:extLst>
          </p:cNvPr>
          <p:cNvSpPr txBox="1"/>
          <p:nvPr/>
        </p:nvSpPr>
        <p:spPr>
          <a:xfrm>
            <a:off x="8526669" y="2250831"/>
            <a:ext cx="2993331" cy="2677656"/>
          </a:xfrm>
          <a:prstGeom prst="rect">
            <a:avLst/>
          </a:prstGeom>
          <a:noFill/>
          <a:ln>
            <a:noFill/>
          </a:ln>
        </p:spPr>
        <p:txBody>
          <a:bodyPr wrap="square" lIns="0" tIns="0" rIns="0" bIns="0" rtlCol="0">
            <a:spAutoFit/>
          </a:bodyPr>
          <a:lstStyle/>
          <a:p>
            <a:r>
              <a:rPr lang="da-DK" sz="1400" i="1" dirty="0">
                <a:solidFill>
                  <a:schemeClr val="accent6"/>
                </a:solidFill>
                <a:latin typeface="Quicksand" panose="020B0604020202020204"/>
                <a:cs typeface="Amatic SC" panose="00000500000000000000" pitchFamily="2" charset="-79"/>
              </a:rPr>
              <a:t>Hvis man </a:t>
            </a:r>
            <a:r>
              <a:rPr lang="da-DK" sz="1400" i="1" noProof="0" dirty="0">
                <a:solidFill>
                  <a:schemeClr val="accent6"/>
                </a:solidFill>
                <a:latin typeface="Quicksand" panose="020B0604020202020204"/>
                <a:cs typeface="Amatic SC" panose="00000500000000000000" pitchFamily="2" charset="-79"/>
              </a:rPr>
              <a:t>man har været flere afsted på kompetenceudvikling på samme tid, giver det noget særligt. Vi får det samme at </a:t>
            </a:r>
            <a:r>
              <a:rPr lang="da-DK" sz="1400" i="1" dirty="0">
                <a:solidFill>
                  <a:schemeClr val="accent6"/>
                </a:solidFill>
                <a:latin typeface="Quicksand" panose="020B0604020202020204"/>
                <a:cs typeface="Amatic SC" panose="00000500000000000000" pitchFamily="2" charset="-79"/>
              </a:rPr>
              <a:t>referere til, vi har </a:t>
            </a:r>
            <a:r>
              <a:rPr lang="da-DK" sz="1400" i="1" noProof="0" dirty="0">
                <a:solidFill>
                  <a:schemeClr val="accent6"/>
                </a:solidFill>
                <a:latin typeface="Quicksand" panose="020B0604020202020204"/>
                <a:cs typeface="Amatic SC" panose="00000500000000000000" pitchFamily="2" charset="-79"/>
              </a:rPr>
              <a:t>hørt det samme og fået samme inspiration. Det gør det meget nemmere at blive enige om prøvehandlinger. Man bliver nødt til at ramme en større gruppe, for så er sandsynligheden for at få et  udbytte af det så meget større.</a:t>
            </a:r>
          </a:p>
          <a:p>
            <a:endParaRPr lang="da-DK" sz="1400" i="1" noProof="0" dirty="0">
              <a:solidFill>
                <a:schemeClr val="accent6"/>
              </a:solidFill>
              <a:latin typeface="Quicksand" panose="020B0604020202020204"/>
              <a:cs typeface="Amatic SC" panose="00000500000000000000" pitchFamily="2" charset="-79"/>
            </a:endParaRPr>
          </a:p>
          <a:p>
            <a:r>
              <a:rPr lang="da-DK" sz="1200" dirty="0">
                <a:solidFill>
                  <a:schemeClr val="accent6"/>
                </a:solidFill>
                <a:latin typeface="Quicksand" panose="020B0604020202020204"/>
                <a:cs typeface="Amatic SC" panose="00000500000000000000" pitchFamily="2" charset="-79"/>
              </a:rPr>
              <a:t>Pædagogisk personale</a:t>
            </a:r>
          </a:p>
          <a:p>
            <a:endParaRPr lang="da-DK" sz="800" dirty="0">
              <a:latin typeface="Quicksand" panose="020B0604020202020204" charset="0"/>
              <a:cs typeface="Quicksand" panose="020B0604020202020204" charset="0"/>
            </a:endParaRPr>
          </a:p>
        </p:txBody>
      </p:sp>
      <p:pic>
        <p:nvPicPr>
          <p:cNvPr id="24" name="Graphic 23" descr="Open quotation mark with solid fill">
            <a:extLst>
              <a:ext uri="{FF2B5EF4-FFF2-40B4-BE49-F238E27FC236}">
                <a16:creationId xmlns:a16="http://schemas.microsoft.com/office/drawing/2014/main" id="{64948A5F-1C25-58DF-A1BA-418441841C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341905" y="1442113"/>
            <a:ext cx="914400" cy="914400"/>
          </a:xfrm>
          <a:prstGeom prst="rect">
            <a:avLst/>
          </a:prstGeom>
        </p:spPr>
      </p:pic>
      <p:pic>
        <p:nvPicPr>
          <p:cNvPr id="2" name="Graphic 1" descr="Teacher outline">
            <a:extLst>
              <a:ext uri="{FF2B5EF4-FFF2-40B4-BE49-F238E27FC236}">
                <a16:creationId xmlns:a16="http://schemas.microsoft.com/office/drawing/2014/main" id="{26E5E9E4-AB1A-6E19-4D4B-AC0375B58C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84221" y="318812"/>
            <a:ext cx="914400" cy="914400"/>
          </a:xfrm>
          <a:prstGeom prst="rect">
            <a:avLst/>
          </a:prstGeom>
        </p:spPr>
      </p:pic>
    </p:spTree>
    <p:extLst>
      <p:ext uri="{BB962C8B-B14F-4D97-AF65-F5344CB8AC3E}">
        <p14:creationId xmlns:p14="http://schemas.microsoft.com/office/powerpoint/2010/main" val="22908073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69AF6FC-57EE-0F60-5471-ADE2CEE88959}"/>
              </a:ext>
            </a:extLst>
          </p:cNvPr>
          <p:cNvSpPr/>
          <p:nvPr/>
        </p:nvSpPr>
        <p:spPr>
          <a:xfrm>
            <a:off x="7602280" y="2241446"/>
            <a:ext cx="4039114" cy="3771661"/>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3" name="TextBox 22">
            <a:extLst>
              <a:ext uri="{FF2B5EF4-FFF2-40B4-BE49-F238E27FC236}">
                <a16:creationId xmlns:a16="http://schemas.microsoft.com/office/drawing/2014/main" id="{31AE8734-9D10-867F-1D47-42B8B7BC5AF0}"/>
              </a:ext>
            </a:extLst>
          </p:cNvPr>
          <p:cNvSpPr txBox="1"/>
          <p:nvPr/>
        </p:nvSpPr>
        <p:spPr>
          <a:xfrm>
            <a:off x="7602280" y="1660394"/>
            <a:ext cx="4039114" cy="666246"/>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1500" b="1" dirty="0">
                <a:latin typeface="Quicksand" panose="020B0604020202020204"/>
                <a:cs typeface="Amatic SC" panose="00000500000000000000" pitchFamily="2" charset="-79"/>
              </a:rPr>
              <a:t>Inddrag lokale skolerapporter </a:t>
            </a:r>
            <a:br>
              <a:rPr lang="da-DK" sz="1500" b="1" dirty="0">
                <a:latin typeface="Quicksand" panose="020B0604020202020204"/>
                <a:cs typeface="Amatic SC" panose="00000500000000000000" pitchFamily="2" charset="-79"/>
              </a:rPr>
            </a:br>
            <a:r>
              <a:rPr lang="da-DK" sz="1500" b="1" dirty="0">
                <a:latin typeface="Quicksand" panose="020B0604020202020204"/>
                <a:cs typeface="Amatic SC" panose="00000500000000000000" pitchFamily="2" charset="-79"/>
              </a:rPr>
              <a:t>i samtalen med skolelederen  </a:t>
            </a:r>
          </a:p>
        </p:txBody>
      </p:sp>
      <p:sp>
        <p:nvSpPr>
          <p:cNvPr id="24" name="TextBox 23">
            <a:extLst>
              <a:ext uri="{FF2B5EF4-FFF2-40B4-BE49-F238E27FC236}">
                <a16:creationId xmlns:a16="http://schemas.microsoft.com/office/drawing/2014/main" id="{B2BD5210-B560-BDEB-B160-5EC15AF7E057}"/>
              </a:ext>
            </a:extLst>
          </p:cNvPr>
          <p:cNvSpPr txBox="1"/>
          <p:nvPr/>
        </p:nvSpPr>
        <p:spPr>
          <a:xfrm>
            <a:off x="7708604" y="2471212"/>
            <a:ext cx="3854131" cy="3400931"/>
          </a:xfrm>
          <a:prstGeom prst="rect">
            <a:avLst/>
          </a:prstGeom>
          <a:noFill/>
        </p:spPr>
        <p:txBody>
          <a:bodyPr wrap="square">
            <a:spAutoFit/>
          </a:bodyPr>
          <a:lstStyle/>
          <a:p>
            <a:r>
              <a:rPr lang="da-DK" sz="1400" dirty="0">
                <a:latin typeface="Quicksand" panose="020B0604020202020204" charset="0"/>
                <a:ea typeface="Quicksand"/>
                <a:cs typeface="Quicksand" panose="020B0604020202020204" charset="0"/>
                <a:sym typeface="Quicksand"/>
              </a:rPr>
              <a:t>Under temaet </a:t>
            </a:r>
            <a:r>
              <a:rPr lang="da-DK" sz="1400" b="1" dirty="0">
                <a:latin typeface="Quicksand" panose="020B0604020202020204" charset="0"/>
                <a:ea typeface="Quicksand"/>
                <a:cs typeface="Quicksand" panose="020B0604020202020204" charset="0"/>
                <a:sym typeface="Quicksand"/>
              </a:rPr>
              <a:t>Organisering og fysiske rammer </a:t>
            </a:r>
            <a:r>
              <a:rPr lang="da-DK" sz="1400" dirty="0">
                <a:latin typeface="Quicksand" panose="020B0604020202020204" charset="0"/>
                <a:ea typeface="Quicksand"/>
                <a:cs typeface="Quicksand" panose="020B0604020202020204" charset="0"/>
                <a:sym typeface="Quicksand"/>
              </a:rPr>
              <a:t>(på side 11 i skolerapporten) finder I spørgsmålet: </a:t>
            </a:r>
          </a:p>
          <a:p>
            <a:r>
              <a:rPr lang="da-DK" sz="1400" i="1" dirty="0">
                <a:latin typeface="Quicksand" panose="020B0604020202020204" charset="0"/>
                <a:ea typeface="Quicksand"/>
                <a:cs typeface="Quicksand" panose="020B0604020202020204" charset="0"/>
                <a:sym typeface="Quicksand"/>
              </a:rPr>
              <a:t>”På vores skole har vi en organisering, der understøtter, at vi kan dele viden med kolleger om arbejdet med at skabe deltagelsesmuligheder for alle elever”.</a:t>
            </a:r>
            <a:br>
              <a:rPr lang="da-DK" sz="1400" i="1" dirty="0">
                <a:latin typeface="Quicksand" panose="020B0604020202020204" charset="0"/>
                <a:ea typeface="Quicksand"/>
                <a:cs typeface="Quicksand" panose="020B0604020202020204" charset="0"/>
                <a:sym typeface="Quicksand"/>
              </a:rPr>
            </a:br>
            <a:endParaRPr lang="da-DK" sz="1400" i="1" dirty="0">
              <a:latin typeface="Quicksand" panose="020B0604020202020204" charset="0"/>
              <a:ea typeface="Quicksand"/>
              <a:cs typeface="Quicksand" panose="020B0604020202020204" charset="0"/>
              <a:sym typeface="Quicksand"/>
            </a:endParaRPr>
          </a:p>
          <a:p>
            <a:pPr>
              <a:spcAft>
                <a:spcPts val="600"/>
              </a:spcAft>
            </a:pPr>
            <a:r>
              <a:rPr lang="da-DK" sz="1400" dirty="0">
                <a:latin typeface="Quicksand" panose="020B0604020202020204" charset="0"/>
                <a:ea typeface="Quicksand"/>
                <a:cs typeface="Quicksand" panose="020B0604020202020204" charset="0"/>
                <a:sym typeface="Quicksand"/>
              </a:rPr>
              <a:t>Af skolerapporten fremgår det også: </a:t>
            </a:r>
          </a:p>
          <a:p>
            <a:pPr marL="185738" indent="-185738">
              <a:buFont typeface="+mj-lt"/>
              <a:buAutoNum type="arabicPeriod"/>
            </a:pPr>
            <a:r>
              <a:rPr lang="da-DK" sz="1400" dirty="0">
                <a:latin typeface="Quicksand" panose="020B0604020202020204" charset="0"/>
                <a:ea typeface="Quicksand"/>
                <a:cs typeface="Quicksand" panose="020B0604020202020204" charset="0"/>
                <a:sym typeface="Quicksand"/>
              </a:rPr>
              <a:t>Om skolens gennemsnit på disse spørgsmål er højere eller lavere end gennemsnittet blandt de øvrige skoler i kommunen. </a:t>
            </a:r>
            <a:br>
              <a:rPr lang="da-DK" sz="1400" dirty="0">
                <a:latin typeface="Quicksand" panose="020B0604020202020204" charset="0"/>
                <a:ea typeface="Quicksand"/>
                <a:cs typeface="Quicksand" panose="020B0604020202020204" charset="0"/>
                <a:sym typeface="Quicksand"/>
              </a:rPr>
            </a:br>
            <a:endParaRPr lang="da-DK" sz="1400" dirty="0">
              <a:latin typeface="Quicksand" panose="020B0604020202020204" charset="0"/>
              <a:ea typeface="Quicksand"/>
              <a:cs typeface="Quicksand" panose="020B0604020202020204" charset="0"/>
              <a:sym typeface="Quicksand"/>
            </a:endParaRPr>
          </a:p>
          <a:p>
            <a:pPr marL="185738" indent="-185738">
              <a:buFont typeface="+mj-lt"/>
              <a:buAutoNum type="arabicPeriod"/>
            </a:pPr>
            <a:r>
              <a:rPr lang="da-DK" sz="1400" dirty="0">
                <a:latin typeface="Quicksand" panose="020B0604020202020204" charset="0"/>
                <a:ea typeface="Quicksand"/>
                <a:cs typeface="Quicksand" panose="020B0604020202020204" charset="0"/>
                <a:sym typeface="Quicksand"/>
              </a:rPr>
              <a:t>Om der er sket en udvikling i pædagogisk personales oplevelse af motivation, viden og kompetencer det seneste år. </a:t>
            </a:r>
            <a:endParaRPr lang="da-DK" sz="1400" dirty="0">
              <a:highlight>
                <a:srgbClr val="FFFF00"/>
              </a:highlight>
            </a:endParaRPr>
          </a:p>
        </p:txBody>
      </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8</a:t>
            </a:fld>
            <a:endParaRPr lang="da-DK"/>
          </a:p>
        </p:txBody>
      </p:sp>
      <p:sp>
        <p:nvSpPr>
          <p:cNvPr id="10" name="Google Shape;843;p29">
            <a:extLst>
              <a:ext uri="{FF2B5EF4-FFF2-40B4-BE49-F238E27FC236}">
                <a16:creationId xmlns:a16="http://schemas.microsoft.com/office/drawing/2014/main" id="{BF0BED54-7363-64E6-4FD3-B2EC9C9D53F2}"/>
              </a:ext>
            </a:extLst>
          </p:cNvPr>
          <p:cNvSpPr/>
          <p:nvPr/>
        </p:nvSpPr>
        <p:spPr>
          <a:xfrm>
            <a:off x="0" y="347677"/>
            <a:ext cx="12192000" cy="856671"/>
          </a:xfrm>
          <a:prstGeom prst="rect">
            <a:avLst/>
          </a:prstGeom>
          <a:solidFill>
            <a:schemeClr val="accent6"/>
          </a:solidFill>
          <a:ln>
            <a:noFill/>
          </a:ln>
        </p:spPr>
        <p:txBody>
          <a:bodyPr spcFirstLastPara="1" wrap="square" lIns="91425" tIns="0" rIns="91425" bIns="0" anchor="ctr" anchorCtr="0">
            <a:noAutofit/>
          </a:bodyPr>
          <a:lstStyle/>
          <a:p>
            <a:pPr algn="ctr"/>
            <a:r>
              <a:rPr lang="da-DK" sz="4000" b="1" dirty="0">
                <a:solidFill>
                  <a:schemeClr val="bg1"/>
                </a:solidFill>
                <a:latin typeface="Amatic SC" panose="00000500000000000000" pitchFamily="2" charset="-79"/>
                <a:cs typeface="Amatic SC" panose="00000500000000000000" pitchFamily="2" charset="-79"/>
              </a:rPr>
              <a:t>del viden lokalt på skolen</a:t>
            </a:r>
          </a:p>
        </p:txBody>
      </p:sp>
      <p:sp>
        <p:nvSpPr>
          <p:cNvPr id="25" name="TextBox 24">
            <a:extLst>
              <a:ext uri="{FF2B5EF4-FFF2-40B4-BE49-F238E27FC236}">
                <a16:creationId xmlns:a16="http://schemas.microsoft.com/office/drawing/2014/main" id="{E843444B-51F0-1C1A-9AB2-61341310B836}"/>
              </a:ext>
            </a:extLst>
          </p:cNvPr>
          <p:cNvSpPr txBox="1"/>
          <p:nvPr/>
        </p:nvSpPr>
        <p:spPr>
          <a:xfrm>
            <a:off x="7602280" y="1660394"/>
            <a:ext cx="4039114" cy="666246"/>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1500" b="1">
                <a:solidFill>
                  <a:schemeClr val="bg1"/>
                </a:solidFill>
                <a:latin typeface="Quicksand" panose="020B0604020202020204"/>
                <a:cs typeface="Amatic SC" panose="00000500000000000000" pitchFamily="2" charset="-79"/>
              </a:rPr>
              <a:t>Inddrag lokale skolerapporter </a:t>
            </a:r>
            <a:br>
              <a:rPr lang="da-DK" sz="1500" b="1">
                <a:solidFill>
                  <a:schemeClr val="bg1"/>
                </a:solidFill>
                <a:latin typeface="Quicksand" panose="020B0604020202020204"/>
                <a:cs typeface="Amatic SC" panose="00000500000000000000" pitchFamily="2" charset="-79"/>
              </a:rPr>
            </a:br>
            <a:r>
              <a:rPr lang="da-DK" sz="1500" b="1">
                <a:solidFill>
                  <a:schemeClr val="bg1"/>
                </a:solidFill>
                <a:latin typeface="Quicksand" panose="020B0604020202020204"/>
                <a:cs typeface="Amatic SC" panose="00000500000000000000" pitchFamily="2" charset="-79"/>
              </a:rPr>
              <a:t>i skoleudviklingssamtalen</a:t>
            </a:r>
          </a:p>
        </p:txBody>
      </p:sp>
      <p:pic>
        <p:nvPicPr>
          <p:cNvPr id="26" name="Graphic 25" descr="Folder Search outline">
            <a:extLst>
              <a:ext uri="{FF2B5EF4-FFF2-40B4-BE49-F238E27FC236}">
                <a16:creationId xmlns:a16="http://schemas.microsoft.com/office/drawing/2014/main" id="{25B7F828-3370-AF4E-5FD4-A2CC82B4C0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08604" y="1723517"/>
            <a:ext cx="540000" cy="540000"/>
          </a:xfrm>
          <a:prstGeom prst="rect">
            <a:avLst/>
          </a:prstGeom>
        </p:spPr>
      </p:pic>
      <p:sp>
        <p:nvSpPr>
          <p:cNvPr id="33" name="Google Shape;847;p29">
            <a:extLst>
              <a:ext uri="{FF2B5EF4-FFF2-40B4-BE49-F238E27FC236}">
                <a16:creationId xmlns:a16="http://schemas.microsoft.com/office/drawing/2014/main" id="{FDBECB6B-699E-5915-A841-E5E58884C176}"/>
              </a:ext>
            </a:extLst>
          </p:cNvPr>
          <p:cNvSpPr txBox="1"/>
          <p:nvPr/>
        </p:nvSpPr>
        <p:spPr>
          <a:xfrm>
            <a:off x="901243" y="1262077"/>
            <a:ext cx="6533227" cy="4751030"/>
          </a:xfrm>
          <a:prstGeom prst="rect">
            <a:avLst/>
          </a:prstGeom>
          <a:noFill/>
          <a:ln>
            <a:noFill/>
          </a:ln>
        </p:spPr>
        <p:txBody>
          <a:bodyPr spcFirstLastPara="1" wrap="square" lIns="0" tIns="180000" rIns="0" bIns="0" anchor="t" anchorCtr="0">
            <a:noAutofit/>
          </a:bodyPr>
          <a:lstStyle/>
          <a:p>
            <a:r>
              <a:rPr lang="da-DK" sz="2200" b="1" dirty="0">
                <a:solidFill>
                  <a:srgbClr val="273F68"/>
                </a:solidFill>
                <a:latin typeface="Amatic SC"/>
                <a:cs typeface="Amatic SC"/>
                <a:sym typeface="Quicksand"/>
              </a:rPr>
              <a:t>Forslag til proces:</a:t>
            </a:r>
          </a:p>
          <a:p>
            <a:pPr lvl="1"/>
            <a:br>
              <a:rPr lang="da-DK" sz="1400" b="1" dirty="0">
                <a:highlight>
                  <a:srgbClr val="FFFF00"/>
                </a:highlight>
                <a:latin typeface="Quicksand" panose="020B0604020202020204"/>
                <a:ea typeface="Quicksand" panose="020B0604020202020204"/>
                <a:cs typeface="Quicksand" panose="020B0604020202020204" charset="0"/>
                <a:sym typeface="Quicksand"/>
              </a:rPr>
            </a:br>
            <a:r>
              <a:rPr lang="da-DK" sz="1400" b="1" dirty="0">
                <a:latin typeface="Quicksand" panose="020B0604020202020204"/>
                <a:ea typeface="Quicksand" panose="020B0604020202020204"/>
                <a:cs typeface="Quicksand" panose="020B0604020202020204" charset="0"/>
                <a:sym typeface="Quicksand"/>
              </a:rPr>
              <a:t>Under</a:t>
            </a:r>
            <a:r>
              <a:rPr lang="da-DK" sz="1400" dirty="0">
                <a:latin typeface="Quicksand" panose="020B0604020202020204"/>
                <a:ea typeface="Quicksand" panose="020B0604020202020204"/>
                <a:cs typeface="Quicksand" panose="020B0604020202020204" charset="0"/>
                <a:sym typeface="Quicksand"/>
              </a:rPr>
              <a:t> </a:t>
            </a:r>
            <a:r>
              <a:rPr lang="da-DK" sz="1400" b="1" dirty="0">
                <a:latin typeface="Quicksand" panose="020B0604020202020204"/>
                <a:ea typeface="Quicksand" panose="020B0604020202020204"/>
                <a:cs typeface="Quicksand" panose="020B0604020202020204" charset="0"/>
                <a:sym typeface="Quicksand"/>
              </a:rPr>
              <a:t>skoleudviklingssamtalen </a:t>
            </a:r>
            <a:r>
              <a:rPr lang="da-DK" sz="1400" dirty="0">
                <a:latin typeface="Quicksand" panose="020B0604020202020204"/>
                <a:ea typeface="Quicksand" panose="020B0604020202020204"/>
                <a:cs typeface="Quicksand" panose="020B0604020202020204" charset="0"/>
                <a:sym typeface="Quicksand"/>
              </a:rPr>
              <a:t>indleder forvaltningen en snak om, hvordan </a:t>
            </a:r>
            <a:br>
              <a:rPr lang="da-DK" sz="1400" dirty="0">
                <a:latin typeface="Quicksand" panose="020B0604020202020204"/>
                <a:ea typeface="Quicksand" panose="020B0604020202020204"/>
                <a:cs typeface="Quicksand" panose="020B0604020202020204" charset="0"/>
                <a:sym typeface="Quicksand"/>
              </a:rPr>
            </a:br>
            <a:r>
              <a:rPr lang="da-DK" sz="1400" dirty="0">
                <a:latin typeface="Quicksand" panose="020B0604020202020204"/>
                <a:ea typeface="Quicksand" panose="020B0604020202020204"/>
                <a:cs typeface="Quicksand" panose="020B0604020202020204" charset="0"/>
                <a:sym typeface="Quicksand"/>
              </a:rPr>
              <a:t>ledelsen arbejder med at dele viden fra aktionslæringsforløb på skolen. </a:t>
            </a:r>
            <a:br>
              <a:rPr lang="da-DK" sz="1400" dirty="0">
                <a:latin typeface="Quicksand" panose="020B0604020202020204"/>
                <a:ea typeface="Quicksand" panose="020B0604020202020204"/>
                <a:cs typeface="Quicksand" panose="020B0604020202020204" charset="0"/>
                <a:sym typeface="Quicksand"/>
              </a:rPr>
            </a:br>
            <a:r>
              <a:rPr lang="da-DK" sz="1400" dirty="0">
                <a:latin typeface="Quicksand" panose="020B0604020202020204"/>
                <a:ea typeface="Quicksand" panose="020B0604020202020204"/>
                <a:cs typeface="Quicksand" panose="020B0604020202020204" charset="0"/>
                <a:sym typeface="Quicksand"/>
              </a:rPr>
              <a:t>Fx gennem spørgsmål som: </a:t>
            </a:r>
          </a:p>
          <a:p>
            <a:pPr marL="668338" lvl="1" indent="-211138">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ordan har I arbejdet med at dele viden på tværs af pædagogisk personale?</a:t>
            </a:r>
          </a:p>
          <a:p>
            <a:pPr marL="668338" lvl="1" indent="-211138">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ordan kan I sikre, at pædagogisk personale, som har deltaget i sparrings- eller aktionslæringsforløb, ikke står alene med ansvaret for at dele deres viden med kolleger?</a:t>
            </a:r>
          </a:p>
          <a:p>
            <a:pPr marL="668338" lvl="1" indent="-211138">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ilke udfordringer støder I på som ledelse i forhold til at understøtte pædagogisk personales videndeling?</a:t>
            </a:r>
          </a:p>
          <a:p>
            <a:pPr marL="668338" lvl="1" indent="-211138">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ilke temaer eller tiltag kunne være relevante for hele skolens pædagogiske personale at få indblik i?</a:t>
            </a:r>
            <a:br>
              <a:rPr lang="da-DK" sz="1400" dirty="0">
                <a:latin typeface="Quicksand" panose="020B0604020202020204"/>
                <a:ea typeface="Quicksand" panose="020B0604020202020204"/>
                <a:cs typeface="Quicksand" panose="020B0604020202020204" charset="0"/>
                <a:sym typeface="Quicksand"/>
              </a:rPr>
            </a:br>
            <a:endParaRPr lang="da-DK" sz="1400" dirty="0">
              <a:latin typeface="Quicksand" panose="020B0604020202020204"/>
              <a:ea typeface="Quicksand" panose="020B0604020202020204"/>
              <a:cs typeface="Quicksand" panose="020B0604020202020204" charset="0"/>
              <a:sym typeface="Quicksand"/>
            </a:endParaRPr>
          </a:p>
          <a:p>
            <a:pPr lvl="1"/>
            <a:r>
              <a:rPr lang="da-DK" sz="1400" b="1" dirty="0">
                <a:latin typeface="Quicksand" panose="020B0604020202020204"/>
              </a:rPr>
              <a:t>Forvaltningen og ledelsen drøfter</a:t>
            </a:r>
            <a:r>
              <a:rPr lang="da-DK" sz="1400" dirty="0">
                <a:latin typeface="Quicksand" panose="020B0604020202020204"/>
              </a:rPr>
              <a:t>, hvordan ledelsen</a:t>
            </a:r>
            <a:r>
              <a:rPr lang="da-DK" sz="1400" b="1" dirty="0">
                <a:latin typeface="Quicksand" panose="020B0604020202020204"/>
              </a:rPr>
              <a:t> kan understøtte videndeling </a:t>
            </a:r>
            <a:r>
              <a:rPr lang="da-DK" sz="1400" dirty="0">
                <a:latin typeface="Quicksand" panose="020B0604020202020204"/>
              </a:rPr>
              <a:t>på tværs af pædagogisk personale. Fx ved mindre oplæg på fælles personalemøder eller ved at afholde cafémøder.</a:t>
            </a:r>
          </a:p>
          <a:p>
            <a:pPr lvl="1"/>
            <a:endParaRPr lang="da-DK" sz="1400" dirty="0">
              <a:latin typeface="Quicksand" panose="020B0604020202020204"/>
              <a:ea typeface="Quicksand"/>
              <a:cs typeface="Quicksand"/>
              <a:sym typeface="Quicksand"/>
            </a:endParaRPr>
          </a:p>
          <a:p>
            <a:pPr lvl="1"/>
            <a:r>
              <a:rPr lang="da-DK" sz="1400" dirty="0">
                <a:effectLst/>
                <a:latin typeface="Quicksand" panose="020B0604020202020204"/>
              </a:rPr>
              <a:t>Aftal sammen, hvordan og hvornår I vil </a:t>
            </a:r>
            <a:r>
              <a:rPr lang="da-DK" sz="1400" b="1" dirty="0">
                <a:effectLst/>
                <a:latin typeface="Quicksand" panose="020B0604020202020204"/>
              </a:rPr>
              <a:t>følge</a:t>
            </a:r>
            <a:r>
              <a:rPr lang="da-DK" sz="1400" dirty="0">
                <a:effectLst/>
                <a:latin typeface="Quicksand" panose="020B0604020202020204"/>
              </a:rPr>
              <a:t> </a:t>
            </a:r>
            <a:r>
              <a:rPr lang="da-DK" sz="1400" b="1" dirty="0">
                <a:effectLst/>
                <a:latin typeface="Quicksand" panose="020B0604020202020204"/>
              </a:rPr>
              <a:t>op</a:t>
            </a:r>
            <a:r>
              <a:rPr lang="da-DK" sz="1400" dirty="0">
                <a:effectLst/>
                <a:latin typeface="Quicksand" panose="020B0604020202020204"/>
              </a:rPr>
              <a:t> på jeres drøftelse.</a:t>
            </a:r>
          </a:p>
          <a:p>
            <a:pPr lvl="1"/>
            <a:endParaRPr lang="da-DK" sz="1400" dirty="0">
              <a:effectLst/>
              <a:latin typeface="Quicksand" panose="020B0604020202020204"/>
            </a:endParaRPr>
          </a:p>
          <a:p>
            <a:pPr lvl="1"/>
            <a:r>
              <a:rPr lang="da-DK" sz="1400" dirty="0">
                <a:latin typeface="Quicksand" panose="020B0604020202020204"/>
              </a:rPr>
              <a:t>På næste side fremgår eksempel på, hvordan ledelsen kan arbejde med at </a:t>
            </a:r>
            <a:br>
              <a:rPr lang="da-DK" sz="1400" dirty="0">
                <a:latin typeface="Quicksand" panose="020B0604020202020204"/>
              </a:rPr>
            </a:br>
            <a:r>
              <a:rPr lang="da-DK" sz="1400" b="1" dirty="0">
                <a:latin typeface="Quicksand" panose="020B0604020202020204"/>
              </a:rPr>
              <a:t>dele viden fra aktionslæringsforløb </a:t>
            </a:r>
            <a:r>
              <a:rPr lang="da-DK" sz="1400" dirty="0">
                <a:latin typeface="Quicksand" panose="020B0604020202020204"/>
              </a:rPr>
              <a:t>på skolen.</a:t>
            </a:r>
          </a:p>
          <a:p>
            <a:pPr lvl="1"/>
            <a:endParaRPr lang="da-DK" dirty="0">
              <a:latin typeface="Quicksand"/>
              <a:ea typeface="Quicksand"/>
              <a:cs typeface="Quicksand"/>
              <a:sym typeface="Quicksand"/>
            </a:endParaRPr>
          </a:p>
        </p:txBody>
      </p:sp>
      <p:sp>
        <p:nvSpPr>
          <p:cNvPr id="34" name="Oval 33">
            <a:extLst>
              <a:ext uri="{FF2B5EF4-FFF2-40B4-BE49-F238E27FC236}">
                <a16:creationId xmlns:a16="http://schemas.microsoft.com/office/drawing/2014/main" id="{7BBB88FA-ACAB-06BD-B700-E9B67DC2DBFF}"/>
              </a:ext>
            </a:extLst>
          </p:cNvPr>
          <p:cNvSpPr/>
          <p:nvPr/>
        </p:nvSpPr>
        <p:spPr>
          <a:xfrm>
            <a:off x="898404" y="1952020"/>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35" name="Oval 34">
            <a:extLst>
              <a:ext uri="{FF2B5EF4-FFF2-40B4-BE49-F238E27FC236}">
                <a16:creationId xmlns:a16="http://schemas.microsoft.com/office/drawing/2014/main" id="{D86F658A-9CFA-63EA-2476-A3ED551A93EF}"/>
              </a:ext>
            </a:extLst>
          </p:cNvPr>
          <p:cNvSpPr/>
          <p:nvPr/>
        </p:nvSpPr>
        <p:spPr>
          <a:xfrm>
            <a:off x="920983" y="4656540"/>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dirty="0">
                <a:latin typeface="Quicksand" panose="020B0604020202020204" charset="0"/>
                <a:cs typeface="Quicksand" panose="020B0604020202020204" charset="0"/>
              </a:rPr>
              <a:t>2</a:t>
            </a:r>
            <a:endParaRPr lang="da-DK" sz="2000" noProof="0" dirty="0">
              <a:latin typeface="Quicksand" panose="020B0604020202020204" charset="0"/>
              <a:cs typeface="Quicksand" panose="020B0604020202020204" charset="0"/>
            </a:endParaRPr>
          </a:p>
        </p:txBody>
      </p:sp>
      <p:pic>
        <p:nvPicPr>
          <p:cNvPr id="37" name="Graphic 36" descr="Teacher outline">
            <a:extLst>
              <a:ext uri="{FF2B5EF4-FFF2-40B4-BE49-F238E27FC236}">
                <a16:creationId xmlns:a16="http://schemas.microsoft.com/office/drawing/2014/main" id="{3C58371E-6C04-2EA4-84B4-8A782D43B1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84221" y="289948"/>
            <a:ext cx="914400" cy="914400"/>
          </a:xfrm>
          <a:prstGeom prst="rect">
            <a:avLst/>
          </a:prstGeom>
        </p:spPr>
      </p:pic>
      <p:sp>
        <p:nvSpPr>
          <p:cNvPr id="6" name="Oval 5">
            <a:extLst>
              <a:ext uri="{FF2B5EF4-FFF2-40B4-BE49-F238E27FC236}">
                <a16:creationId xmlns:a16="http://schemas.microsoft.com/office/drawing/2014/main" id="{DA1C1E98-E02F-1F6A-9FDE-45AB59B5A7F7}"/>
              </a:ext>
            </a:extLst>
          </p:cNvPr>
          <p:cNvSpPr/>
          <p:nvPr/>
        </p:nvSpPr>
        <p:spPr>
          <a:xfrm>
            <a:off x="913456" y="5505423"/>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dirty="0">
                <a:latin typeface="Quicksand" panose="020B0604020202020204" charset="0"/>
                <a:cs typeface="Quicksand" panose="020B0604020202020204" charset="0"/>
              </a:rPr>
              <a:t>3</a:t>
            </a:r>
            <a:endParaRPr lang="da-DK" sz="2000" noProof="0" dirty="0">
              <a:latin typeface="Quicksand" panose="020B0604020202020204" charset="0"/>
              <a:cs typeface="Quicksand" panose="020B0604020202020204" charset="0"/>
            </a:endParaRPr>
          </a:p>
        </p:txBody>
      </p:sp>
      <p:sp>
        <p:nvSpPr>
          <p:cNvPr id="2" name="Oval 1">
            <a:extLst>
              <a:ext uri="{FF2B5EF4-FFF2-40B4-BE49-F238E27FC236}">
                <a16:creationId xmlns:a16="http://schemas.microsoft.com/office/drawing/2014/main" id="{7B33796E-4FA1-C98A-FB87-9CA40D4C1FDD}"/>
              </a:ext>
            </a:extLst>
          </p:cNvPr>
          <p:cNvSpPr/>
          <p:nvPr/>
        </p:nvSpPr>
        <p:spPr>
          <a:xfrm>
            <a:off x="905930" y="5947811"/>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dirty="0">
                <a:latin typeface="Quicksand" panose="020B0604020202020204" charset="0"/>
                <a:cs typeface="Quicksand" panose="020B0604020202020204" charset="0"/>
              </a:rPr>
              <a:t>4</a:t>
            </a:r>
            <a:endParaRPr lang="da-DK" sz="2000" noProof="0" dirty="0">
              <a:latin typeface="Quicksand" panose="020B0604020202020204" charset="0"/>
              <a:cs typeface="Quicksand" panose="020B0604020202020204" charset="0"/>
            </a:endParaRPr>
          </a:p>
        </p:txBody>
      </p:sp>
    </p:spTree>
    <p:extLst>
      <p:ext uri="{BB962C8B-B14F-4D97-AF65-F5344CB8AC3E}">
        <p14:creationId xmlns:p14="http://schemas.microsoft.com/office/powerpoint/2010/main" val="93509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9</a:t>
            </a:fld>
            <a:endParaRPr lang="da-DK"/>
          </a:p>
        </p:txBody>
      </p:sp>
      <p:sp>
        <p:nvSpPr>
          <p:cNvPr id="2" name="Google Shape;843;p29">
            <a:extLst>
              <a:ext uri="{FF2B5EF4-FFF2-40B4-BE49-F238E27FC236}">
                <a16:creationId xmlns:a16="http://schemas.microsoft.com/office/drawing/2014/main" id="{0524E856-2585-CE80-CD30-A2732846480B}"/>
              </a:ext>
            </a:extLst>
          </p:cNvPr>
          <p:cNvSpPr/>
          <p:nvPr/>
        </p:nvSpPr>
        <p:spPr>
          <a:xfrm>
            <a:off x="0" y="347492"/>
            <a:ext cx="12191999" cy="856994"/>
          </a:xfrm>
          <a:prstGeom prst="rect">
            <a:avLst/>
          </a:prstGeom>
          <a:solidFill>
            <a:schemeClr val="accent6"/>
          </a:solidFill>
          <a:ln>
            <a:noFill/>
          </a:ln>
        </p:spPr>
        <p:txBody>
          <a:bodyPr spcFirstLastPara="1" wrap="square" lIns="91425" tIns="0" rIns="91425" bIns="0" anchor="ctr" anchorCtr="0">
            <a:noAutofit/>
          </a:bodyPr>
          <a:lstStyle/>
          <a:p>
            <a:pPr algn="ctr"/>
            <a:r>
              <a:rPr lang="da-DK" sz="4000" b="1" dirty="0">
                <a:solidFill>
                  <a:schemeClr val="bg1"/>
                </a:solidFill>
                <a:latin typeface="Amatic SC" panose="00000500000000000000" pitchFamily="2" charset="-79"/>
                <a:cs typeface="Amatic SC" panose="00000500000000000000" pitchFamily="2" charset="-79"/>
              </a:rPr>
              <a:t>del viden lokalt på skolen</a:t>
            </a:r>
          </a:p>
        </p:txBody>
      </p:sp>
      <p:sp>
        <p:nvSpPr>
          <p:cNvPr id="21" name="TextBox 20">
            <a:extLst>
              <a:ext uri="{FF2B5EF4-FFF2-40B4-BE49-F238E27FC236}">
                <a16:creationId xmlns:a16="http://schemas.microsoft.com/office/drawing/2014/main" id="{39B6D923-4774-F051-0402-6F5501CAB4AA}"/>
              </a:ext>
            </a:extLst>
          </p:cNvPr>
          <p:cNvSpPr txBox="1"/>
          <p:nvPr/>
        </p:nvSpPr>
        <p:spPr>
          <a:xfrm>
            <a:off x="1445489" y="1948214"/>
            <a:ext cx="9254188" cy="3385542"/>
          </a:xfrm>
          <a:prstGeom prst="rect">
            <a:avLst/>
          </a:prstGeom>
          <a:noFill/>
        </p:spPr>
        <p:txBody>
          <a:bodyPr wrap="square" lIns="0" tIns="0" rIns="0" bIns="0">
            <a:spAutoFit/>
          </a:bodyPr>
          <a:lstStyle/>
          <a:p>
            <a:r>
              <a:rPr lang="da-DK" sz="1400" dirty="0">
                <a:latin typeface="Quicksand" panose="020B0604020202020204"/>
                <a:ea typeface="Quicksand" panose="020B0604020202020204"/>
                <a:cs typeface="Quicksand" panose="020B0604020202020204" charset="0"/>
                <a:sym typeface="Quicksand"/>
              </a:rPr>
              <a:t>Pædagogisk personale, der har været på kompetenceudvikling, og som arbejder aktivt med aktionslæring, kan dele viden fra aktionslæringsforløbet, fx på fælles personale- eller afdelingsmøder:  </a:t>
            </a:r>
            <a:br>
              <a:rPr lang="da-DK" sz="1400" dirty="0">
                <a:latin typeface="Quicksand" panose="020B0604020202020204"/>
                <a:ea typeface="Quicksand" panose="020B0604020202020204"/>
                <a:cs typeface="Quicksand" panose="020B0604020202020204" charset="0"/>
                <a:sym typeface="Quicksand"/>
              </a:rPr>
            </a:br>
            <a:endParaRPr lang="da-DK" sz="1400" dirty="0">
              <a:latin typeface="Quicksand" panose="020B0604020202020204"/>
              <a:ea typeface="Quicksand" panose="020B0604020202020204"/>
              <a:cs typeface="Quicksand" panose="020B0604020202020204" charset="0"/>
              <a:sym typeface="Quicksand"/>
            </a:endParaRPr>
          </a:p>
          <a:p>
            <a:r>
              <a:rPr lang="da-DK" sz="1400" b="1" dirty="0">
                <a:latin typeface="Quicksand" panose="020B0604020202020204"/>
                <a:ea typeface="Quicksand" panose="020B0604020202020204"/>
                <a:cs typeface="Quicksand" panose="020B0604020202020204" charset="0"/>
                <a:sym typeface="Quicksand"/>
              </a:rPr>
              <a:t>Et team præsenterer en prøvehandling</a:t>
            </a:r>
            <a:r>
              <a:rPr lang="da-DK" sz="1400" dirty="0">
                <a:latin typeface="Quicksand" panose="020B0604020202020204"/>
                <a:ea typeface="Quicksand" panose="020B0604020202020204"/>
                <a:cs typeface="Quicksand" panose="020B0604020202020204" charset="0"/>
                <a:sym typeface="Quicksand"/>
              </a:rPr>
              <a:t>, de har arbejdet med, ud fra følgende struktur (5 min.):</a:t>
            </a:r>
            <a:r>
              <a:rPr lang="da-DK" sz="1400" b="1" dirty="0">
                <a:latin typeface="Quicksand" panose="020B0604020202020204"/>
                <a:ea typeface="Quicksand" panose="020B0604020202020204"/>
                <a:cs typeface="Quicksand" panose="020B0604020202020204" charset="0"/>
                <a:sym typeface="Quicksand"/>
              </a:rPr>
              <a:t> </a:t>
            </a:r>
          </a:p>
          <a:p>
            <a:pPr marL="363538" lvl="1" indent="-177800">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ilken udfordring udsprang prøvehandlingen af?</a:t>
            </a:r>
            <a:r>
              <a:rPr lang="da-DK" sz="1400" b="1" dirty="0">
                <a:latin typeface="Quicksand" panose="020B0604020202020204"/>
                <a:ea typeface="Quicksand" panose="020B0604020202020204"/>
                <a:cs typeface="Quicksand" panose="020B0604020202020204" charset="0"/>
                <a:sym typeface="Quicksand"/>
              </a:rPr>
              <a:t> </a:t>
            </a:r>
          </a:p>
          <a:p>
            <a:pPr marL="363538" lvl="1" indent="-177800">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ordan blev prøvehandlingen konkret gennemført? Hvad indebærer den?</a:t>
            </a:r>
          </a:p>
          <a:p>
            <a:pPr marL="363538" lvl="1" indent="-177800">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ad fungerede godt og mindre godt ved prøvehandlingen?</a:t>
            </a:r>
          </a:p>
          <a:p>
            <a:pPr marL="363538" lvl="1" indent="-177800">
              <a:spcBef>
                <a:spcPts val="300"/>
              </a:spcBef>
              <a:buFont typeface="+mj-lt"/>
              <a:buAutoNum type="arabicPeriod"/>
            </a:pPr>
            <a:r>
              <a:rPr lang="da-DK" sz="1400" dirty="0">
                <a:latin typeface="Quicksand" panose="020B0604020202020204"/>
                <a:ea typeface="Quicksand" panose="020B0604020202020204"/>
                <a:cs typeface="Quicksand" panose="020B0604020202020204" charset="0"/>
                <a:sym typeface="Quicksand"/>
              </a:rPr>
              <a:t>Hvilken forandring oplevede eleverne? </a:t>
            </a:r>
            <a:br>
              <a:rPr lang="da-DK" sz="1400" dirty="0">
                <a:latin typeface="Quicksand" panose="020B0604020202020204"/>
                <a:ea typeface="Quicksand" panose="020B0604020202020204"/>
                <a:cs typeface="Quicksand" panose="020B0604020202020204" charset="0"/>
                <a:sym typeface="Quicksand"/>
              </a:rPr>
            </a:br>
            <a:endParaRPr lang="da-DK" sz="1400" b="1" dirty="0">
              <a:latin typeface="Quicksand" panose="020B0604020202020204"/>
              <a:ea typeface="Quicksand" panose="020B0604020202020204"/>
              <a:cs typeface="Quicksand" panose="020B0604020202020204" charset="0"/>
              <a:sym typeface="Quicksand"/>
            </a:endParaRPr>
          </a:p>
          <a:p>
            <a:r>
              <a:rPr lang="da-DK" sz="1400" b="1" dirty="0">
                <a:effectLst/>
                <a:latin typeface="Quicksand" panose="020B0604020202020204"/>
                <a:ea typeface="Calibri" panose="020F0502020204030204" pitchFamily="34" charset="0"/>
                <a:cs typeface="Arial" panose="020B0604020202020204" pitchFamily="34" charset="0"/>
              </a:rPr>
              <a:t>Mens teamet præsenterer prøvehandlingen, agerer øvrigt pædagogisk personale ‘</a:t>
            </a:r>
            <a:r>
              <a:rPr lang="da-DK" sz="1400" b="1" dirty="0">
                <a:latin typeface="Quicksand" panose="020B0604020202020204"/>
                <a:ea typeface="Calibri" panose="020F0502020204030204" pitchFamily="34" charset="0"/>
                <a:cs typeface="Arial" panose="020B0604020202020204" pitchFamily="34" charset="0"/>
              </a:rPr>
              <a:t>aktive lyttere’. </a:t>
            </a:r>
            <a:r>
              <a:rPr lang="da-DK" sz="1400" dirty="0">
                <a:latin typeface="Quicksand" panose="020B0604020202020204"/>
                <a:ea typeface="Calibri" panose="020F0502020204030204" pitchFamily="34" charset="0"/>
                <a:cs typeface="Arial" panose="020B0604020202020204" pitchFamily="34" charset="0"/>
              </a:rPr>
              <a:t>De får udleveret et lytteark (se næste slide) og noterer egne refleksioner. </a:t>
            </a:r>
          </a:p>
          <a:p>
            <a:pPr marL="342900" indent="-342900">
              <a:buAutoNum type="arabicPeriod" startAt="2"/>
            </a:pPr>
            <a:endParaRPr lang="da-DK" sz="1400" b="1" dirty="0">
              <a:effectLst/>
              <a:latin typeface="Quicksand" panose="020B0604020202020204"/>
              <a:ea typeface="Calibri" panose="020F0502020204030204" pitchFamily="34" charset="0"/>
              <a:cs typeface="Arial" panose="020B0604020202020204" pitchFamily="34" charset="0"/>
            </a:endParaRPr>
          </a:p>
          <a:p>
            <a:r>
              <a:rPr lang="da-DK" sz="1400" b="1" dirty="0">
                <a:latin typeface="Quicksand" panose="020B0604020202020204"/>
                <a:ea typeface="Calibri" panose="020F0502020204030204" pitchFamily="34" charset="0"/>
                <a:cs typeface="Arial" panose="020B0604020202020204" pitchFamily="34" charset="0"/>
              </a:rPr>
              <a:t>Pædagogisk personale stiller spørgsmål </a:t>
            </a:r>
            <a:r>
              <a:rPr lang="da-DK" sz="1400" dirty="0">
                <a:latin typeface="Quicksand" panose="020B0604020202020204"/>
                <a:ea typeface="Calibri" panose="020F0502020204030204" pitchFamily="34" charset="0"/>
                <a:cs typeface="Arial" panose="020B0604020202020204" pitchFamily="34" charset="0"/>
              </a:rPr>
              <a:t>til teamet, baseret på noterne i lyttearket</a:t>
            </a:r>
            <a:r>
              <a:rPr lang="da-DK" sz="1400" b="1" dirty="0">
                <a:latin typeface="Quicksand" panose="020B0604020202020204"/>
                <a:ea typeface="Calibri" panose="020F0502020204030204" pitchFamily="34" charset="0"/>
                <a:cs typeface="Arial" panose="020B0604020202020204" pitchFamily="34" charset="0"/>
              </a:rPr>
              <a:t> </a:t>
            </a:r>
            <a:r>
              <a:rPr lang="da-DK" sz="1400" dirty="0">
                <a:latin typeface="Quicksand" panose="020B0604020202020204"/>
                <a:ea typeface="Calibri" panose="020F0502020204030204" pitchFamily="34" charset="0"/>
                <a:cs typeface="Arial" panose="020B0604020202020204" pitchFamily="34" charset="0"/>
              </a:rPr>
              <a:t>(10 min.). </a:t>
            </a:r>
          </a:p>
          <a:p>
            <a:pPr marL="342900" indent="-342900">
              <a:buAutoNum type="arabicPeriod" startAt="2"/>
            </a:pPr>
            <a:endParaRPr lang="da-DK" sz="1400" b="1" dirty="0">
              <a:latin typeface="Quicksand" panose="020B0604020202020204"/>
              <a:ea typeface="Calibri" panose="020F0502020204030204" pitchFamily="34" charset="0"/>
              <a:cs typeface="Arial" panose="020B0604020202020204" pitchFamily="34" charset="0"/>
            </a:endParaRPr>
          </a:p>
          <a:p>
            <a:r>
              <a:rPr lang="da-DK" sz="1400" b="1" dirty="0">
                <a:latin typeface="Quicksand" panose="020B0604020202020204"/>
                <a:ea typeface="Calibri" panose="020F0502020204030204" pitchFamily="34" charset="0"/>
                <a:cs typeface="Arial" panose="020B0604020202020204" pitchFamily="34" charset="0"/>
              </a:rPr>
              <a:t>I grupper drøfter pædagogisk personale</a:t>
            </a:r>
            <a:r>
              <a:rPr lang="da-DK" sz="1400" dirty="0">
                <a:latin typeface="Quicksand" panose="020B0604020202020204"/>
                <a:ea typeface="Calibri" panose="020F0502020204030204" pitchFamily="34" charset="0"/>
                <a:cs typeface="Arial" panose="020B0604020202020204" pitchFamily="34" charset="0"/>
              </a:rPr>
              <a:t>, hvilken prøvehandling de vil afprøve, og hvornår de vil følge op på det </a:t>
            </a:r>
            <a:r>
              <a:rPr lang="da-DK" sz="1400" dirty="0">
                <a:effectLst/>
                <a:latin typeface="Quicksand" panose="020B0604020202020204"/>
                <a:ea typeface="Calibri" panose="020F0502020204030204" pitchFamily="34" charset="0"/>
                <a:cs typeface="Arial" panose="020B0604020202020204" pitchFamily="34" charset="0"/>
              </a:rPr>
              <a:t>(5 min.).</a:t>
            </a:r>
            <a:endParaRPr lang="da-DK" sz="1400" dirty="0">
              <a:latin typeface="Quicksand" panose="020B0604020202020204"/>
              <a:ea typeface="Quicksand" panose="020B0604020202020204"/>
              <a:cs typeface="Quicksand" panose="020B0604020202020204" charset="0"/>
              <a:sym typeface="Quicksand"/>
            </a:endParaRPr>
          </a:p>
        </p:txBody>
      </p:sp>
      <p:pic>
        <p:nvPicPr>
          <p:cNvPr id="30" name="Graphic 29" descr="Single gear outline">
            <a:extLst>
              <a:ext uri="{FF2B5EF4-FFF2-40B4-BE49-F238E27FC236}">
                <a16:creationId xmlns:a16="http://schemas.microsoft.com/office/drawing/2014/main" id="{EED5AF45-DDB4-3E2E-98F1-E6ACA8E2818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1204" y="1469172"/>
            <a:ext cx="540000" cy="540000"/>
          </a:xfrm>
          <a:prstGeom prst="rect">
            <a:avLst/>
          </a:prstGeom>
        </p:spPr>
      </p:pic>
      <p:sp>
        <p:nvSpPr>
          <p:cNvPr id="8" name="TextBox 7">
            <a:extLst>
              <a:ext uri="{FF2B5EF4-FFF2-40B4-BE49-F238E27FC236}">
                <a16:creationId xmlns:a16="http://schemas.microsoft.com/office/drawing/2014/main" id="{7B8FE8C6-EDF6-8A2A-05C8-FC792A28C20E}"/>
              </a:ext>
            </a:extLst>
          </p:cNvPr>
          <p:cNvSpPr txBox="1"/>
          <p:nvPr/>
        </p:nvSpPr>
        <p:spPr>
          <a:xfrm>
            <a:off x="1445488" y="1542112"/>
            <a:ext cx="7274529" cy="276999"/>
          </a:xfrm>
          <a:prstGeom prst="rect">
            <a:avLst/>
          </a:prstGeom>
          <a:noFill/>
        </p:spPr>
        <p:txBody>
          <a:bodyPr wrap="square" lIns="0" tIns="0" rIns="0" bIns="0">
            <a:spAutoFit/>
          </a:bodyPr>
          <a:lstStyle/>
          <a:p>
            <a:r>
              <a:rPr lang="da-DK" sz="1800" b="1" dirty="0">
                <a:latin typeface="Quicksand" panose="020B0604020202020204" charset="0"/>
                <a:ea typeface="Quicksand"/>
                <a:cs typeface="Quicksand" panose="020B0604020202020204" charset="0"/>
                <a:sym typeface="Quicksand"/>
              </a:rPr>
              <a:t>Greb til at sikre rum for videndeling blandt </a:t>
            </a:r>
            <a:r>
              <a:rPr lang="da-DK" b="1" dirty="0">
                <a:latin typeface="Quicksand" panose="020B0604020202020204" charset="0"/>
                <a:ea typeface="Quicksand"/>
                <a:cs typeface="Quicksand" panose="020B0604020202020204" charset="0"/>
                <a:sym typeface="Quicksand"/>
              </a:rPr>
              <a:t>p</a:t>
            </a:r>
            <a:r>
              <a:rPr lang="da-DK" sz="1800" b="1" dirty="0">
                <a:latin typeface="Quicksand" panose="020B0604020202020204" charset="0"/>
                <a:ea typeface="Quicksand"/>
                <a:cs typeface="Quicksand" panose="020B0604020202020204" charset="0"/>
                <a:sym typeface="Quicksand"/>
              </a:rPr>
              <a:t>ædagogisk personale:</a:t>
            </a:r>
          </a:p>
        </p:txBody>
      </p:sp>
      <p:pic>
        <p:nvPicPr>
          <p:cNvPr id="3" name="Graphic 2" descr="Teacher outline">
            <a:extLst>
              <a:ext uri="{FF2B5EF4-FFF2-40B4-BE49-F238E27FC236}">
                <a16:creationId xmlns:a16="http://schemas.microsoft.com/office/drawing/2014/main" id="{0781F5D4-B6DB-507A-BCA6-7F761302832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84221" y="289948"/>
            <a:ext cx="914400" cy="914400"/>
          </a:xfrm>
          <a:prstGeom prst="rect">
            <a:avLst/>
          </a:prstGeom>
        </p:spPr>
      </p:pic>
      <p:sp>
        <p:nvSpPr>
          <p:cNvPr id="6" name="Oval 33">
            <a:extLst>
              <a:ext uri="{FF2B5EF4-FFF2-40B4-BE49-F238E27FC236}">
                <a16:creationId xmlns:a16="http://schemas.microsoft.com/office/drawing/2014/main" id="{C32807A8-01B6-18F5-42D4-22120B0E6C87}"/>
              </a:ext>
            </a:extLst>
          </p:cNvPr>
          <p:cNvSpPr/>
          <p:nvPr/>
        </p:nvSpPr>
        <p:spPr>
          <a:xfrm>
            <a:off x="898404" y="2538145"/>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7" name="Oval 34">
            <a:extLst>
              <a:ext uri="{FF2B5EF4-FFF2-40B4-BE49-F238E27FC236}">
                <a16:creationId xmlns:a16="http://schemas.microsoft.com/office/drawing/2014/main" id="{8081288A-C4B3-C438-A996-3F41FBDAC23C}"/>
              </a:ext>
            </a:extLst>
          </p:cNvPr>
          <p:cNvSpPr/>
          <p:nvPr/>
        </p:nvSpPr>
        <p:spPr>
          <a:xfrm>
            <a:off x="897534" y="3959018"/>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dirty="0">
                <a:latin typeface="Quicksand" panose="020B0604020202020204" charset="0"/>
                <a:cs typeface="Quicksand" panose="020B0604020202020204" charset="0"/>
              </a:rPr>
              <a:t>2</a:t>
            </a:r>
            <a:endParaRPr lang="da-DK" sz="2000" noProof="0" dirty="0">
              <a:latin typeface="Quicksand" panose="020B0604020202020204" charset="0"/>
              <a:cs typeface="Quicksand" panose="020B0604020202020204" charset="0"/>
            </a:endParaRPr>
          </a:p>
        </p:txBody>
      </p:sp>
      <p:sp>
        <p:nvSpPr>
          <p:cNvPr id="9" name="Oval 5">
            <a:extLst>
              <a:ext uri="{FF2B5EF4-FFF2-40B4-BE49-F238E27FC236}">
                <a16:creationId xmlns:a16="http://schemas.microsoft.com/office/drawing/2014/main" id="{6A0349AD-EA95-BDAD-B427-22DB4CAE2195}"/>
              </a:ext>
            </a:extLst>
          </p:cNvPr>
          <p:cNvSpPr/>
          <p:nvPr/>
        </p:nvSpPr>
        <p:spPr>
          <a:xfrm>
            <a:off x="905930" y="4584433"/>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dirty="0">
                <a:latin typeface="Quicksand" panose="020B0604020202020204" charset="0"/>
                <a:cs typeface="Quicksand" panose="020B0604020202020204" charset="0"/>
              </a:rPr>
              <a:t>3</a:t>
            </a:r>
            <a:endParaRPr lang="da-DK" sz="2000" noProof="0" dirty="0">
              <a:latin typeface="Quicksand" panose="020B0604020202020204" charset="0"/>
              <a:cs typeface="Quicksand" panose="020B0604020202020204" charset="0"/>
            </a:endParaRPr>
          </a:p>
        </p:txBody>
      </p:sp>
      <p:sp>
        <p:nvSpPr>
          <p:cNvPr id="10" name="Oval 1">
            <a:extLst>
              <a:ext uri="{FF2B5EF4-FFF2-40B4-BE49-F238E27FC236}">
                <a16:creationId xmlns:a16="http://schemas.microsoft.com/office/drawing/2014/main" id="{99136B8C-A102-30DB-73C9-50D128FECEBC}"/>
              </a:ext>
            </a:extLst>
          </p:cNvPr>
          <p:cNvSpPr/>
          <p:nvPr/>
        </p:nvSpPr>
        <p:spPr>
          <a:xfrm>
            <a:off x="905930" y="5063266"/>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dirty="0">
                <a:latin typeface="Quicksand" panose="020B0604020202020204" charset="0"/>
                <a:cs typeface="Quicksand" panose="020B0604020202020204" charset="0"/>
              </a:rPr>
              <a:t>4</a:t>
            </a:r>
            <a:endParaRPr lang="da-DK" sz="2000" noProof="0" dirty="0">
              <a:latin typeface="Quicksand" panose="020B0604020202020204" charset="0"/>
              <a:cs typeface="Quicksand" panose="020B0604020202020204" charset="0"/>
            </a:endParaRPr>
          </a:p>
        </p:txBody>
      </p:sp>
    </p:spTree>
    <p:extLst>
      <p:ext uri="{BB962C8B-B14F-4D97-AF65-F5344CB8AC3E}">
        <p14:creationId xmlns:p14="http://schemas.microsoft.com/office/powerpoint/2010/main" val="1006678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Playful colors">
      <a:dk1>
        <a:srgbClr val="273F68"/>
      </a:dk1>
      <a:lt1>
        <a:srgbClr val="FFFFFF"/>
      </a:lt1>
      <a:dk2>
        <a:srgbClr val="7085AA"/>
      </a:dk2>
      <a:lt2>
        <a:srgbClr val="F4F7FA"/>
      </a:lt2>
      <a:accent1>
        <a:srgbClr val="4BD1DD"/>
      </a:accent1>
      <a:accent2>
        <a:srgbClr val="57C0EB"/>
      </a:accent2>
      <a:accent3>
        <a:srgbClr val="BD9ADD"/>
      </a:accent3>
      <a:accent4>
        <a:srgbClr val="F3805C"/>
      </a:accent4>
      <a:accent5>
        <a:srgbClr val="FFD11D"/>
      </a:accent5>
      <a:accent6>
        <a:srgbClr val="95D346"/>
      </a:accent6>
      <a:hlink>
        <a:srgbClr val="273F68"/>
      </a:hlink>
      <a:folHlink>
        <a:srgbClr val="6611CC"/>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2.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900E3F7D-0F42-4127-A563-AB863FCD720C}" vid="{53CCD02C-91E1-4BFC-A1BE-18ED37431167}"/>
    </a:ext>
  </a:extLst>
</a:theme>
</file>

<file path=ppt/theme/theme3.xml><?xml version="1.0" encoding="utf-8"?>
<a:theme xmlns:a="http://schemas.openxmlformats.org/drawingml/2006/main" name="2_Blank">
  <a:themeElements>
    <a:clrScheme name="Ramboll">
      <a:dk1>
        <a:srgbClr val="333333"/>
      </a:dk1>
      <a:lt1>
        <a:srgbClr val="FFFFFF"/>
      </a:lt1>
      <a:dk2>
        <a:srgbClr val="009DF0"/>
      </a:dk2>
      <a:lt2>
        <a:srgbClr val="797766"/>
      </a:lt2>
      <a:accent1>
        <a:srgbClr val="ADDDFF"/>
      </a:accent1>
      <a:accent2>
        <a:srgbClr val="3AA551"/>
      </a:accent2>
      <a:accent3>
        <a:srgbClr val="A8D100"/>
      </a:accent3>
      <a:accent4>
        <a:srgbClr val="C40079"/>
      </a:accent4>
      <a:accent5>
        <a:srgbClr val="C63418"/>
      </a:accent5>
      <a:accent6>
        <a:srgbClr val="D0CFC9"/>
      </a:accent6>
      <a:hlink>
        <a:srgbClr val="009DF0"/>
      </a:hlink>
      <a:folHlink>
        <a:srgbClr val="ADDDF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marR="0" algn="l" defTabSz="457200" rtl="0" eaLnBrk="0" fontAlgn="base" latinLnBrk="0" hangingPunct="0">
          <a:spcBef>
            <a:spcPct val="0"/>
          </a:spcBef>
          <a:buClrTx/>
          <a:buSzTx/>
          <a:tabLst/>
          <a:defRPr kumimoji="0" sz="1800" b="0" i="0" u="none" strike="noStrike" kern="1200" cap="none" spc="0" normalizeH="0" baseline="0" noProof="0" dirty="0" err="1" smtClean="0">
            <a:ln>
              <a:noFill/>
            </a:ln>
            <a:solidFill>
              <a:schemeClr val="tx1"/>
            </a:solidFill>
            <a:effectLst/>
            <a:uLnTx/>
            <a:uFillTx/>
            <a:latin typeface="Verdana"/>
            <a:ea typeface="Verdana" pitchFamily="34" charset="0"/>
            <a:cs typeface="Verdana" pitchFamily="34" charset="0"/>
          </a:defRPr>
        </a:defPPr>
      </a:lstStyle>
    </a:tx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extLst>
    <a:ext uri="{05A4C25C-085E-4340-85A3-A5531E510DB2}">
      <thm15:themeFamily xmlns:thm15="http://schemas.microsoft.com/office/thememl/2012/main" name="Ramboll Template.pptx" id="{5AEA101F-179A-4E02-8835-BB0D3710D3A7}" vid="{E99342CD-4962-46DC-842C-A6C21B4B076F}"/>
    </a:ext>
  </a:extLst>
</a:theme>
</file>

<file path=ppt/theme/theme4.xml><?xml version="1.0" encoding="utf-8"?>
<a:theme xmlns:a="http://schemas.openxmlformats.org/drawingml/2006/main" name="3_Blank">
  <a:themeElements>
    <a:clrScheme name="Ramboll">
      <a:dk1>
        <a:srgbClr val="333333"/>
      </a:dk1>
      <a:lt1>
        <a:srgbClr val="FFFFFF"/>
      </a:lt1>
      <a:dk2>
        <a:srgbClr val="009DF0"/>
      </a:dk2>
      <a:lt2>
        <a:srgbClr val="797766"/>
      </a:lt2>
      <a:accent1>
        <a:srgbClr val="ADDDFF"/>
      </a:accent1>
      <a:accent2>
        <a:srgbClr val="3AA551"/>
      </a:accent2>
      <a:accent3>
        <a:srgbClr val="A8D100"/>
      </a:accent3>
      <a:accent4>
        <a:srgbClr val="C40079"/>
      </a:accent4>
      <a:accent5>
        <a:srgbClr val="C63418"/>
      </a:accent5>
      <a:accent6>
        <a:srgbClr val="D0CFC9"/>
      </a:accent6>
      <a:hlink>
        <a:srgbClr val="009DF0"/>
      </a:hlink>
      <a:folHlink>
        <a:srgbClr val="ADDDF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marR="0" algn="l" defTabSz="457200" rtl="0" eaLnBrk="0" fontAlgn="base" latinLnBrk="0" hangingPunct="0">
          <a:spcBef>
            <a:spcPct val="0"/>
          </a:spcBef>
          <a:buClrTx/>
          <a:buSzTx/>
          <a:tabLst/>
          <a:defRPr kumimoji="0" sz="1800" b="0" i="0" u="none" strike="noStrike" kern="1200" cap="none" spc="0" normalizeH="0" baseline="0" noProof="0" dirty="0" err="1" smtClean="0">
            <a:ln>
              <a:noFill/>
            </a:ln>
            <a:solidFill>
              <a:schemeClr val="tx1"/>
            </a:solidFill>
            <a:effectLst/>
            <a:uLnTx/>
            <a:uFillTx/>
            <a:latin typeface="Verdana"/>
            <a:ea typeface="Verdana" pitchFamily="34" charset="0"/>
            <a:cs typeface="Verdana" pitchFamily="34" charset="0"/>
          </a:defRPr>
        </a:defPPr>
      </a:lstStyle>
    </a:tx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extLst>
    <a:ext uri="{05A4C25C-085E-4340-85A3-A5531E510DB2}">
      <thm15:themeFamily xmlns:thm15="http://schemas.microsoft.com/office/thememl/2012/main" name="Ramboll Template.pptx" id="{5AEA101F-179A-4E02-8835-BB0D3710D3A7}" vid="{E99342CD-4962-46DC-842C-A6C21B4B076F}"/>
    </a:ext>
  </a:extLst>
</a:theme>
</file>

<file path=ppt/theme/theme5.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1C20181D027EE4E8CE43B03417944D7" ma:contentTypeVersion="16" ma:contentTypeDescription="Opret et nyt dokument." ma:contentTypeScope="" ma:versionID="81eeff03218afdec93342a7b5b80532c">
  <xsd:schema xmlns:xsd="http://www.w3.org/2001/XMLSchema" xmlns:xs="http://www.w3.org/2001/XMLSchema" xmlns:p="http://schemas.microsoft.com/office/2006/metadata/properties" xmlns:ns2="403ac9b0-0429-4076-ab5a-1a158639b83e" xmlns:ns3="cc72a137-9d55-4d41-be4a-960e4116afa6" xmlns:ns4="1611cc7e-243d-4120-a4b3-dc62a26f08e1" targetNamespace="http://schemas.microsoft.com/office/2006/metadata/properties" ma:root="true" ma:fieldsID="45d74d24c04db05d44090f1cb31a71d6" ns2:_="" ns3:_="" ns4:_="">
    <xsd:import namespace="403ac9b0-0429-4076-ab5a-1a158639b83e"/>
    <xsd:import namespace="cc72a137-9d55-4d41-be4a-960e4116afa6"/>
    <xsd:import namespace="1611cc7e-243d-4120-a4b3-dc62a26f08e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OCR" minOccurs="0"/>
                <xsd:element ref="ns2:MediaServiceGenerationTime" minOccurs="0"/>
                <xsd:element ref="ns2:MediaServiceEventHashCode" minOccurs="0"/>
                <xsd:element ref="ns2:lcf76f155ced4ddcb4097134ff3c332f" minOccurs="0"/>
                <xsd:element ref="ns4:TaxCatchAll" minOccurs="0"/>
                <xsd:element ref="ns2:MediaServiceDateTaken"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3ac9b0-0429-4076-ab5a-1a158639b8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Billedmærker" ma:readOnly="false" ma:fieldId="{5cf76f15-5ced-4ddc-b409-7134ff3c332f}" ma:taxonomyMulti="true" ma:sspId="2a0716b9-ea6c-4544-a4bd-65ac324c60d4" ma:termSetId="09814cd3-568e-fe90-9814-8d621ff8fb84" ma:anchorId="fba54fb3-c3e1-fe81-a776-ca4b69148c4d" ma:open="true" ma:isKeyword="false">
      <xsd:complexType>
        <xsd:sequence>
          <xsd:element ref="pc:Terms" minOccurs="0" maxOccurs="1"/>
        </xsd:sequence>
      </xsd:complex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c72a137-9d55-4d41-be4a-960e4116afa6"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t med 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611cc7e-243d-4120-a4b3-dc62a26f08e1"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3eeef0ec-d421-40bf-a8cf-1cdb00db7115}" ma:internalName="TaxCatchAll" ma:showField="CatchAllData" ma:web="cc72a137-9d55-4d41-be4a-960e4116af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cc72a137-9d55-4d41-be4a-960e4116afa6">
      <UserInfo>
        <DisplayName>Mia Rytter Lund</DisplayName>
        <AccountId>45</AccountId>
        <AccountType/>
      </UserInfo>
      <UserInfo>
        <DisplayName>Nikolaj Godsk Vestergaard</DisplayName>
        <AccountId>197</AccountId>
        <AccountType/>
      </UserInfo>
      <UserInfo>
        <DisplayName>Sophie Bayer</DisplayName>
        <AccountId>243</AccountId>
        <AccountType/>
      </UserInfo>
      <UserInfo>
        <DisplayName>Ida Høst Poulsen</DisplayName>
        <AccountId>427</AccountId>
        <AccountType/>
      </UserInfo>
      <UserInfo>
        <DisplayName>Stine Møller Jespersen</DisplayName>
        <AccountId>2790</AccountId>
        <AccountType/>
      </UserInfo>
      <UserInfo>
        <DisplayName>Marianne Delcomyn</DisplayName>
        <AccountId>82</AccountId>
        <AccountType/>
      </UserInfo>
      <UserInfo>
        <DisplayName>Aman Reehal</DisplayName>
        <AccountId>2501</AccountId>
        <AccountType/>
      </UserInfo>
      <UserInfo>
        <DisplayName>Josephine Andersen</DisplayName>
        <AccountId>1064</AccountId>
        <AccountType/>
      </UserInfo>
    </SharedWithUsers>
    <lcf76f155ced4ddcb4097134ff3c332f xmlns="403ac9b0-0429-4076-ab5a-1a158639b83e">
      <Terms xmlns="http://schemas.microsoft.com/office/infopath/2007/PartnerControls"/>
    </lcf76f155ced4ddcb4097134ff3c332f>
    <TaxCatchAll xmlns="1611cc7e-243d-4120-a4b3-dc62a26f08e1" xsi:nil="true"/>
    <MediaLengthInSeconds xmlns="403ac9b0-0429-4076-ab5a-1a158639b83e" xsi:nil="true"/>
  </documentManagement>
</p:properties>
</file>

<file path=customXml/itemProps1.xml><?xml version="1.0" encoding="utf-8"?>
<ds:datastoreItem xmlns:ds="http://schemas.openxmlformats.org/officeDocument/2006/customXml" ds:itemID="{7335BF5B-BAA9-46F0-878D-4DC161BFA1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3ac9b0-0429-4076-ab5a-1a158639b83e"/>
    <ds:schemaRef ds:uri="cc72a137-9d55-4d41-be4a-960e4116afa6"/>
    <ds:schemaRef ds:uri="1611cc7e-243d-4120-a4b3-dc62a26f08e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153CFF-5C71-4AE1-8E1D-1F92B2B8ED15}">
  <ds:schemaRefs>
    <ds:schemaRef ds:uri="http://schemas.microsoft.com/sharepoint/v3/contenttype/forms"/>
  </ds:schemaRefs>
</ds:datastoreItem>
</file>

<file path=customXml/itemProps3.xml><?xml version="1.0" encoding="utf-8"?>
<ds:datastoreItem xmlns:ds="http://schemas.openxmlformats.org/officeDocument/2006/customXml" ds:itemID="{E9EFF8DE-3DB9-4F84-BF63-5977268658D3}">
  <ds:schemaRefs>
    <ds:schemaRef ds:uri="1611cc7e-243d-4120-a4b3-dc62a26f08e1"/>
    <ds:schemaRef ds:uri="403ac9b0-0429-4076-ab5a-1a158639b83e"/>
    <ds:schemaRef ds:uri="cc72a137-9d55-4d41-be4a-960e4116afa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244</TotalTime>
  <Words>2408</Words>
  <Application>Microsoft Office PowerPoint</Application>
  <PresentationFormat>Widescreen</PresentationFormat>
  <Paragraphs>314</Paragraphs>
  <Slides>14</Slides>
  <Notes>12</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5" baseType="lpstr">
      <vt:lpstr>Amatic SC</vt:lpstr>
      <vt:lpstr>Arial</vt:lpstr>
      <vt:lpstr>Quicksand</vt:lpstr>
      <vt:lpstr>Short Stack</vt:lpstr>
      <vt:lpstr>ui-sans-serif</vt:lpstr>
      <vt:lpstr>Verdana</vt:lpstr>
      <vt:lpstr>Blank</vt:lpstr>
      <vt:lpstr>1_Blank</vt:lpstr>
      <vt:lpstr>2_Blank</vt:lpstr>
      <vt:lpstr>3_Blank</vt:lpstr>
      <vt:lpstr>think-cell Slide</vt:lpstr>
      <vt:lpstr>PowerPoint Presentation</vt:lpstr>
      <vt:lpstr>Sådan kan I understøtte skolernes arbejde med resultaterne fra  Den mangfoldige folkesko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 december 2022</dc:title>
  <dc:creator>Nikolaj Godsk Vestergaard</dc:creator>
  <cp:lastModifiedBy>Ida Høst Poulsen</cp:lastModifiedBy>
  <cp:revision>7</cp:revision>
  <cp:lastPrinted>2022-12-14T14:16:49Z</cp:lastPrinted>
  <dcterms:created xsi:type="dcterms:W3CDTF">2022-11-28T10:19:23Z</dcterms:created>
  <dcterms:modified xsi:type="dcterms:W3CDTF">2024-06-20T10:4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ea7001-5c24-4702-a3ac-e436ccb02747_Enabled">
    <vt:lpwstr>true</vt:lpwstr>
  </property>
  <property fmtid="{D5CDD505-2E9C-101B-9397-08002B2CF9AE}" pid="3" name="MSIP_Label_20ea7001-5c24-4702-a3ac-e436ccb02747_SetDate">
    <vt:lpwstr>2022-11-28T10:19:24Z</vt:lpwstr>
  </property>
  <property fmtid="{D5CDD505-2E9C-101B-9397-08002B2CF9AE}" pid="4" name="MSIP_Label_20ea7001-5c24-4702-a3ac-e436ccb02747_Method">
    <vt:lpwstr>Standard</vt:lpwstr>
  </property>
  <property fmtid="{D5CDD505-2E9C-101B-9397-08002B2CF9AE}" pid="5" name="MSIP_Label_20ea7001-5c24-4702-a3ac-e436ccb02747_Name">
    <vt:lpwstr>Confidential</vt:lpwstr>
  </property>
  <property fmtid="{D5CDD505-2E9C-101B-9397-08002B2CF9AE}" pid="6" name="MSIP_Label_20ea7001-5c24-4702-a3ac-e436ccb02747_SiteId">
    <vt:lpwstr>c8823c91-be81-4f89-b024-6c3dd789c106</vt:lpwstr>
  </property>
  <property fmtid="{D5CDD505-2E9C-101B-9397-08002B2CF9AE}" pid="7" name="MSIP_Label_20ea7001-5c24-4702-a3ac-e436ccb02747_ActionId">
    <vt:lpwstr>9cef2eea-b7e5-4349-87cc-eae238bee497</vt:lpwstr>
  </property>
  <property fmtid="{D5CDD505-2E9C-101B-9397-08002B2CF9AE}" pid="8" name="MSIP_Label_20ea7001-5c24-4702-a3ac-e436ccb02747_ContentBits">
    <vt:lpwstr>2</vt:lpwstr>
  </property>
  <property fmtid="{D5CDD505-2E9C-101B-9397-08002B2CF9AE}" pid="9" name="ContentTypeId">
    <vt:lpwstr>0x010100F1C20181D027EE4E8CE43B03417944D7</vt:lpwstr>
  </property>
  <property fmtid="{D5CDD505-2E9C-101B-9397-08002B2CF9AE}" pid="10" name="MediaServiceImageTags">
    <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bool>false</vt:bool>
  </property>
</Properties>
</file>